
<file path=[Content_Types].xml><?xml version="1.0" encoding="utf-8"?>
<Types xmlns="http://schemas.openxmlformats.org/package/2006/content-types">
  <Default Extension="bin" ContentType="image/png"/>
  <Default Extension="emf" ContentType="image/x-emf"/>
  <Default Extension="fntdata" ContentType="application/x-fontdata"/>
  <Default Extension="gif" ContentType="image/gi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embeddings/oleObject1.bin" ContentType="application/vnd.openxmlformats-officedocument.oleObject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embeddings/oleObject2.bin" ContentType="application/vnd.openxmlformats-officedocument.oleObject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3.xml" ContentType="application/vnd.openxmlformats-officedocument.presentationml.tags+xml"/>
  <Override PartName="/ppt/notesSlides/notesSlide8.xml" ContentType="application/vnd.openxmlformats-officedocument.presentationml.notesSlide+xml"/>
  <Override PartName="/ppt/embeddings/oleObject3.bin" ContentType="application/vnd.openxmlformats-officedocument.oleObject"/>
  <Override PartName="/ppt/notesSlides/notesSlide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ink/ink1.xml" ContentType="application/inkml+xml"/>
  <Override PartName="/ppt/ink/ink2.xml" ContentType="application/inkml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7" Type="http://schemas.microsoft.com/office/2020/02/relationships/classificationlabels" Target="docMetadata/LabelInfo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embedTrueTypeFonts="1">
  <p:sldMasterIdLst>
    <p:sldMasterId id="2147483648" r:id="rId23"/>
  </p:sldMasterIdLst>
  <p:notesMasterIdLst>
    <p:notesMasterId r:id="rId48"/>
  </p:notesMasterIdLst>
  <p:handoutMasterIdLst>
    <p:handoutMasterId r:id="rId49"/>
  </p:handoutMasterIdLst>
  <p:sldIdLst>
    <p:sldId id="307" r:id="rId24"/>
    <p:sldId id="256" r:id="rId25"/>
    <p:sldId id="2147481448" r:id="rId26"/>
    <p:sldId id="2147376420" r:id="rId27"/>
    <p:sldId id="2147376419" r:id="rId28"/>
    <p:sldId id="2147481447" r:id="rId29"/>
    <p:sldId id="2147481400" r:id="rId30"/>
    <p:sldId id="2147481438" r:id="rId31"/>
    <p:sldId id="2147481434" r:id="rId32"/>
    <p:sldId id="2147481426" r:id="rId33"/>
    <p:sldId id="2147481410" r:id="rId34"/>
    <p:sldId id="2147481436" r:id="rId35"/>
    <p:sldId id="314" r:id="rId36"/>
    <p:sldId id="2147481439" r:id="rId37"/>
    <p:sldId id="2147376427" r:id="rId38"/>
    <p:sldId id="2147481440" r:id="rId39"/>
    <p:sldId id="2147481444" r:id="rId40"/>
    <p:sldId id="313" r:id="rId41"/>
    <p:sldId id="2147481446" r:id="rId42"/>
    <p:sldId id="2147481449" r:id="rId43"/>
    <p:sldId id="315" r:id="rId44"/>
    <p:sldId id="310" r:id="rId45"/>
    <p:sldId id="277" r:id="rId46"/>
    <p:sldId id="312" r:id="rId47"/>
  </p:sldIdLst>
  <p:sldSz cx="12192000" cy="6858000"/>
  <p:notesSz cx="6858000" cy="9144000"/>
  <p:embeddedFontLst>
    <p:embeddedFont>
      <p:font typeface="Gjensidige Display" pitchFamily="2" charset="77"/>
      <p:regular r:id="rId50"/>
    </p:embeddedFont>
    <p:embeddedFont>
      <p:font typeface="Gjensidige Type" pitchFamily="2" charset="77"/>
      <p:regular r:id="rId51"/>
      <p:bold r:id="rId52"/>
      <p:italic r:id="rId53"/>
      <p:boldItalic r:id="rId54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EBDB409-8B15-ED4C-ACFC-6CCF3C19783E}" v="18" dt="2024-02-14T20:18:45.734"/>
  </p1510:revLst>
</p1510:revInfo>
</file>

<file path=ppt/tableStyles.xml><?xml version="1.0" encoding="utf-8"?>
<a:tblStyleLst xmlns:a="http://schemas.openxmlformats.org/drawingml/2006/main" def="{B301B821-A1FF-4177-AEE7-76D212191A0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990" autoAdjust="0"/>
    <p:restoredTop sz="96327" autoAdjust="0"/>
  </p:normalViewPr>
  <p:slideViewPr>
    <p:cSldViewPr snapToGrid="0" showGuides="1">
      <p:cViewPr varScale="1">
        <p:scale>
          <a:sx n="107" d="100"/>
          <a:sy n="107" d="100"/>
        </p:scale>
        <p:origin x="176" y="520"/>
      </p:cViewPr>
      <p:guideLst/>
    </p:cSldViewPr>
  </p:slideViewPr>
  <p:outlineViewPr>
    <p:cViewPr>
      <p:scale>
        <a:sx n="33" d="100"/>
        <a:sy n="33" d="100"/>
      </p:scale>
      <p:origin x="0" y="-173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97" d="100"/>
          <a:sy n="97" d="100"/>
        </p:scale>
        <p:origin x="2920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3.xml"/><Relationship Id="rId39" Type="http://schemas.openxmlformats.org/officeDocument/2006/relationships/slide" Target="slides/slide16.xml"/><Relationship Id="rId21" Type="http://schemas.openxmlformats.org/officeDocument/2006/relationships/customXml" Target="../customXml/item21.xml"/><Relationship Id="rId34" Type="http://schemas.openxmlformats.org/officeDocument/2006/relationships/slide" Target="slides/slide11.xml"/><Relationship Id="rId42" Type="http://schemas.openxmlformats.org/officeDocument/2006/relationships/slide" Target="slides/slide19.xml"/><Relationship Id="rId47" Type="http://schemas.openxmlformats.org/officeDocument/2006/relationships/slide" Target="slides/slide24.xml"/><Relationship Id="rId50" Type="http://schemas.openxmlformats.org/officeDocument/2006/relationships/font" Target="fonts/font1.fntdata"/><Relationship Id="rId55" Type="http://schemas.openxmlformats.org/officeDocument/2006/relationships/presProps" Target="presProps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9" Type="http://schemas.openxmlformats.org/officeDocument/2006/relationships/slide" Target="slides/slide6.xml"/><Relationship Id="rId11" Type="http://schemas.openxmlformats.org/officeDocument/2006/relationships/customXml" Target="../customXml/item11.xml"/><Relationship Id="rId24" Type="http://schemas.openxmlformats.org/officeDocument/2006/relationships/slide" Target="slides/slide1.xml"/><Relationship Id="rId32" Type="http://schemas.openxmlformats.org/officeDocument/2006/relationships/slide" Target="slides/slide9.xml"/><Relationship Id="rId37" Type="http://schemas.openxmlformats.org/officeDocument/2006/relationships/slide" Target="slides/slide14.xml"/><Relationship Id="rId40" Type="http://schemas.openxmlformats.org/officeDocument/2006/relationships/slide" Target="slides/slide17.xml"/><Relationship Id="rId45" Type="http://schemas.openxmlformats.org/officeDocument/2006/relationships/slide" Target="slides/slide22.xml"/><Relationship Id="rId53" Type="http://schemas.openxmlformats.org/officeDocument/2006/relationships/font" Target="fonts/font4.fntdata"/><Relationship Id="rId58" Type="http://schemas.openxmlformats.org/officeDocument/2006/relationships/tableStyles" Target="tableStyles.xml"/><Relationship Id="rId5" Type="http://schemas.openxmlformats.org/officeDocument/2006/relationships/customXml" Target="../customXml/item5.xml"/><Relationship Id="rId19" Type="http://schemas.openxmlformats.org/officeDocument/2006/relationships/customXml" Target="../customXml/item19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slide" Target="slides/slide4.xml"/><Relationship Id="rId30" Type="http://schemas.openxmlformats.org/officeDocument/2006/relationships/slide" Target="slides/slide7.xml"/><Relationship Id="rId35" Type="http://schemas.openxmlformats.org/officeDocument/2006/relationships/slide" Target="slides/slide12.xml"/><Relationship Id="rId43" Type="http://schemas.openxmlformats.org/officeDocument/2006/relationships/slide" Target="slides/slide20.xml"/><Relationship Id="rId48" Type="http://schemas.openxmlformats.org/officeDocument/2006/relationships/notesMaster" Target="notesMasters/notesMaster1.xml"/><Relationship Id="rId56" Type="http://schemas.openxmlformats.org/officeDocument/2006/relationships/viewProps" Target="viewProps.xml"/><Relationship Id="rId8" Type="http://schemas.openxmlformats.org/officeDocument/2006/relationships/customXml" Target="../customXml/item8.xml"/><Relationship Id="rId51" Type="http://schemas.openxmlformats.org/officeDocument/2006/relationships/font" Target="fonts/font2.fntdata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2.xml"/><Relationship Id="rId33" Type="http://schemas.openxmlformats.org/officeDocument/2006/relationships/slide" Target="slides/slide10.xml"/><Relationship Id="rId38" Type="http://schemas.openxmlformats.org/officeDocument/2006/relationships/slide" Target="slides/slide15.xml"/><Relationship Id="rId46" Type="http://schemas.openxmlformats.org/officeDocument/2006/relationships/slide" Target="slides/slide23.xml"/><Relationship Id="rId59" Type="http://schemas.microsoft.com/office/2016/11/relationships/changesInfo" Target="changesInfos/changesInfo1.xml"/><Relationship Id="rId20" Type="http://schemas.openxmlformats.org/officeDocument/2006/relationships/customXml" Target="../customXml/item20.xml"/><Relationship Id="rId41" Type="http://schemas.openxmlformats.org/officeDocument/2006/relationships/slide" Target="slides/slide18.xml"/><Relationship Id="rId54" Type="http://schemas.openxmlformats.org/officeDocument/2006/relationships/font" Target="fonts/font5.fntdata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5" Type="http://schemas.openxmlformats.org/officeDocument/2006/relationships/customXml" Target="../customXml/item15.xml"/><Relationship Id="rId23" Type="http://schemas.openxmlformats.org/officeDocument/2006/relationships/slideMaster" Target="slideMasters/slideMaster1.xml"/><Relationship Id="rId28" Type="http://schemas.openxmlformats.org/officeDocument/2006/relationships/slide" Target="slides/slide5.xml"/><Relationship Id="rId36" Type="http://schemas.openxmlformats.org/officeDocument/2006/relationships/slide" Target="slides/slide13.xml"/><Relationship Id="rId49" Type="http://schemas.openxmlformats.org/officeDocument/2006/relationships/handoutMaster" Target="handoutMasters/handoutMaster1.xml"/><Relationship Id="rId57" Type="http://schemas.openxmlformats.org/officeDocument/2006/relationships/theme" Target="theme/theme1.xml"/><Relationship Id="rId10" Type="http://schemas.openxmlformats.org/officeDocument/2006/relationships/customXml" Target="../customXml/item10.xml"/><Relationship Id="rId31" Type="http://schemas.openxmlformats.org/officeDocument/2006/relationships/slide" Target="slides/slide8.xml"/><Relationship Id="rId44" Type="http://schemas.openxmlformats.org/officeDocument/2006/relationships/slide" Target="slides/slide21.xml"/><Relationship Id="rId52" Type="http://schemas.openxmlformats.org/officeDocument/2006/relationships/font" Target="fonts/font3.fntdata"/><Relationship Id="rId60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xandra Diem" userId="c8039d65-2c3c-4c00-be8a-a6c2a8ef2749" providerId="ADAL" clId="{9EBDB409-8B15-ED4C-ACFC-6CCF3C19783E}"/>
    <pc:docChg chg="undo custSel addSld delSld modSld sldOrd">
      <pc:chgData name="Alexandra Diem" userId="c8039d65-2c3c-4c00-be8a-a6c2a8ef2749" providerId="ADAL" clId="{9EBDB409-8B15-ED4C-ACFC-6CCF3C19783E}" dt="2024-02-14T20:18:59.692" v="1905" actId="313"/>
      <pc:docMkLst>
        <pc:docMk/>
      </pc:docMkLst>
      <pc:sldChg chg="modSp mod">
        <pc:chgData name="Alexandra Diem" userId="c8039d65-2c3c-4c00-be8a-a6c2a8ef2749" providerId="ADAL" clId="{9EBDB409-8B15-ED4C-ACFC-6CCF3C19783E}" dt="2024-02-13T08:50:33.726" v="32" actId="255"/>
        <pc:sldMkLst>
          <pc:docMk/>
          <pc:sldMk cId="420621177" sldId="307"/>
        </pc:sldMkLst>
        <pc:spChg chg="mod">
          <ac:chgData name="Alexandra Diem" userId="c8039d65-2c3c-4c00-be8a-a6c2a8ef2749" providerId="ADAL" clId="{9EBDB409-8B15-ED4C-ACFC-6CCF3C19783E}" dt="2024-02-13T08:50:33.726" v="32" actId="255"/>
          <ac:spMkLst>
            <pc:docMk/>
            <pc:sldMk cId="420621177" sldId="307"/>
            <ac:spMk id="4" creationId="{E49E693F-5222-4E91-E801-CC3A97731F29}"/>
          </ac:spMkLst>
        </pc:spChg>
      </pc:sldChg>
      <pc:sldChg chg="del">
        <pc:chgData name="Alexandra Diem" userId="c8039d65-2c3c-4c00-be8a-a6c2a8ef2749" providerId="ADAL" clId="{9EBDB409-8B15-ED4C-ACFC-6CCF3C19783E}" dt="2024-02-13T08:50:42.214" v="35" actId="2696"/>
        <pc:sldMkLst>
          <pc:docMk/>
          <pc:sldMk cId="818698579" sldId="308"/>
        </pc:sldMkLst>
      </pc:sldChg>
      <pc:sldChg chg="modSp mod">
        <pc:chgData name="Alexandra Diem" userId="c8039d65-2c3c-4c00-be8a-a6c2a8ef2749" providerId="ADAL" clId="{9EBDB409-8B15-ED4C-ACFC-6CCF3C19783E}" dt="2024-02-14T20:18:30.221" v="1860" actId="20577"/>
        <pc:sldMkLst>
          <pc:docMk/>
          <pc:sldMk cId="4267243056" sldId="313"/>
        </pc:sldMkLst>
        <pc:spChg chg="mod">
          <ac:chgData name="Alexandra Diem" userId="c8039d65-2c3c-4c00-be8a-a6c2a8ef2749" providerId="ADAL" clId="{9EBDB409-8B15-ED4C-ACFC-6CCF3C19783E}" dt="2024-02-14T20:18:30.221" v="1860" actId="20577"/>
          <ac:spMkLst>
            <pc:docMk/>
            <pc:sldMk cId="4267243056" sldId="313"/>
            <ac:spMk id="2" creationId="{F15DBF31-37F7-A297-BACD-BE1184ED2E6F}"/>
          </ac:spMkLst>
        </pc:spChg>
        <pc:spChg chg="mod">
          <ac:chgData name="Alexandra Diem" userId="c8039d65-2c3c-4c00-be8a-a6c2a8ef2749" providerId="ADAL" clId="{9EBDB409-8B15-ED4C-ACFC-6CCF3C19783E}" dt="2024-02-14T07:56:10.466" v="177"/>
          <ac:spMkLst>
            <pc:docMk/>
            <pc:sldMk cId="4267243056" sldId="313"/>
            <ac:spMk id="10" creationId="{70826858-3B6F-DB8F-5048-936D843CB749}"/>
          </ac:spMkLst>
        </pc:spChg>
      </pc:sldChg>
      <pc:sldChg chg="modSp mod">
        <pc:chgData name="Alexandra Diem" userId="c8039d65-2c3c-4c00-be8a-a6c2a8ef2749" providerId="ADAL" clId="{9EBDB409-8B15-ED4C-ACFC-6CCF3C19783E}" dt="2024-02-14T07:55:57.444" v="174"/>
        <pc:sldMkLst>
          <pc:docMk/>
          <pc:sldMk cId="2174308049" sldId="314"/>
        </pc:sldMkLst>
        <pc:spChg chg="mod">
          <ac:chgData name="Alexandra Diem" userId="c8039d65-2c3c-4c00-be8a-a6c2a8ef2749" providerId="ADAL" clId="{9EBDB409-8B15-ED4C-ACFC-6CCF3C19783E}" dt="2024-02-14T07:55:57.444" v="174"/>
          <ac:spMkLst>
            <pc:docMk/>
            <pc:sldMk cId="2174308049" sldId="314"/>
            <ac:spMk id="8" creationId="{C336D851-DBC4-300E-C2CA-D0AFACC97A7C}"/>
          </ac:spMkLst>
        </pc:spChg>
      </pc:sldChg>
      <pc:sldChg chg="add del">
        <pc:chgData name="Alexandra Diem" userId="c8039d65-2c3c-4c00-be8a-a6c2a8ef2749" providerId="ADAL" clId="{9EBDB409-8B15-ED4C-ACFC-6CCF3C19783E}" dt="2024-02-13T12:58:40.655" v="167" actId="2696"/>
        <pc:sldMkLst>
          <pc:docMk/>
          <pc:sldMk cId="1219104993" sldId="316"/>
        </pc:sldMkLst>
      </pc:sldChg>
      <pc:sldChg chg="add del">
        <pc:chgData name="Alexandra Diem" userId="c8039d65-2c3c-4c00-be8a-a6c2a8ef2749" providerId="ADAL" clId="{9EBDB409-8B15-ED4C-ACFC-6CCF3C19783E}" dt="2024-02-13T12:58:40.636" v="159" actId="2696"/>
        <pc:sldMkLst>
          <pc:docMk/>
          <pc:sldMk cId="2779234424" sldId="317"/>
        </pc:sldMkLst>
      </pc:sldChg>
      <pc:sldChg chg="add del">
        <pc:chgData name="Alexandra Diem" userId="c8039d65-2c3c-4c00-be8a-a6c2a8ef2749" providerId="ADAL" clId="{9EBDB409-8B15-ED4C-ACFC-6CCF3C19783E}" dt="2024-02-13T12:58:40.647" v="166" actId="2696"/>
        <pc:sldMkLst>
          <pc:docMk/>
          <pc:sldMk cId="718602275" sldId="318"/>
        </pc:sldMkLst>
      </pc:sldChg>
      <pc:sldChg chg="add del">
        <pc:chgData name="Alexandra Diem" userId="c8039d65-2c3c-4c00-be8a-a6c2a8ef2749" providerId="ADAL" clId="{9EBDB409-8B15-ED4C-ACFC-6CCF3C19783E}" dt="2024-02-13T12:58:40.638" v="160" actId="2696"/>
        <pc:sldMkLst>
          <pc:docMk/>
          <pc:sldMk cId="1542746542" sldId="319"/>
        </pc:sldMkLst>
      </pc:sldChg>
      <pc:sldChg chg="add del">
        <pc:chgData name="Alexandra Diem" userId="c8039d65-2c3c-4c00-be8a-a6c2a8ef2749" providerId="ADAL" clId="{9EBDB409-8B15-ED4C-ACFC-6CCF3C19783E}" dt="2024-02-13T12:58:40.635" v="158" actId="2696"/>
        <pc:sldMkLst>
          <pc:docMk/>
          <pc:sldMk cId="3200691362" sldId="320"/>
        </pc:sldMkLst>
      </pc:sldChg>
      <pc:sldChg chg="add del">
        <pc:chgData name="Alexandra Diem" userId="c8039d65-2c3c-4c00-be8a-a6c2a8ef2749" providerId="ADAL" clId="{9EBDB409-8B15-ED4C-ACFC-6CCF3C19783E}" dt="2024-02-13T12:58:40.633" v="157" actId="2696"/>
        <pc:sldMkLst>
          <pc:docMk/>
          <pc:sldMk cId="3530762867" sldId="321"/>
        </pc:sldMkLst>
      </pc:sldChg>
      <pc:sldChg chg="add del">
        <pc:chgData name="Alexandra Diem" userId="c8039d65-2c3c-4c00-be8a-a6c2a8ef2749" providerId="ADAL" clId="{9EBDB409-8B15-ED4C-ACFC-6CCF3C19783E}" dt="2024-02-13T12:58:40.631" v="156" actId="2696"/>
        <pc:sldMkLst>
          <pc:docMk/>
          <pc:sldMk cId="3884493554" sldId="322"/>
        </pc:sldMkLst>
      </pc:sldChg>
      <pc:sldChg chg="add del">
        <pc:chgData name="Alexandra Diem" userId="c8039d65-2c3c-4c00-be8a-a6c2a8ef2749" providerId="ADAL" clId="{9EBDB409-8B15-ED4C-ACFC-6CCF3C19783E}" dt="2024-02-13T12:58:40.645" v="164" actId="2696"/>
        <pc:sldMkLst>
          <pc:docMk/>
          <pc:sldMk cId="2991755535" sldId="323"/>
        </pc:sldMkLst>
      </pc:sldChg>
      <pc:sldChg chg="add del">
        <pc:chgData name="Alexandra Diem" userId="c8039d65-2c3c-4c00-be8a-a6c2a8ef2749" providerId="ADAL" clId="{9EBDB409-8B15-ED4C-ACFC-6CCF3C19783E}" dt="2024-02-13T12:58:40.643" v="163" actId="2696"/>
        <pc:sldMkLst>
          <pc:docMk/>
          <pc:sldMk cId="2821460943" sldId="324"/>
        </pc:sldMkLst>
      </pc:sldChg>
      <pc:sldChg chg="add del">
        <pc:chgData name="Alexandra Diem" userId="c8039d65-2c3c-4c00-be8a-a6c2a8ef2749" providerId="ADAL" clId="{9EBDB409-8B15-ED4C-ACFC-6CCF3C19783E}" dt="2024-02-13T12:58:40.618" v="153" actId="2696"/>
        <pc:sldMkLst>
          <pc:docMk/>
          <pc:sldMk cId="55469742" sldId="325"/>
        </pc:sldMkLst>
      </pc:sldChg>
      <pc:sldChg chg="add del">
        <pc:chgData name="Alexandra Diem" userId="c8039d65-2c3c-4c00-be8a-a6c2a8ef2749" providerId="ADAL" clId="{9EBDB409-8B15-ED4C-ACFC-6CCF3C19783E}" dt="2024-02-13T12:58:40.641" v="162" actId="2696"/>
        <pc:sldMkLst>
          <pc:docMk/>
          <pc:sldMk cId="2420541497" sldId="327"/>
        </pc:sldMkLst>
      </pc:sldChg>
      <pc:sldChg chg="add del">
        <pc:chgData name="Alexandra Diem" userId="c8039d65-2c3c-4c00-be8a-a6c2a8ef2749" providerId="ADAL" clId="{9EBDB409-8B15-ED4C-ACFC-6CCF3C19783E}" dt="2024-02-13T12:58:40.619" v="154" actId="2696"/>
        <pc:sldMkLst>
          <pc:docMk/>
          <pc:sldMk cId="4094934359" sldId="328"/>
        </pc:sldMkLst>
      </pc:sldChg>
      <pc:sldChg chg="add del">
        <pc:chgData name="Alexandra Diem" userId="c8039d65-2c3c-4c00-be8a-a6c2a8ef2749" providerId="ADAL" clId="{9EBDB409-8B15-ED4C-ACFC-6CCF3C19783E}" dt="2024-02-13T12:58:40.639" v="161" actId="2696"/>
        <pc:sldMkLst>
          <pc:docMk/>
          <pc:sldMk cId="3946765797" sldId="329"/>
        </pc:sldMkLst>
      </pc:sldChg>
      <pc:sldChg chg="add del">
        <pc:chgData name="Alexandra Diem" userId="c8039d65-2c3c-4c00-be8a-a6c2a8ef2749" providerId="ADAL" clId="{9EBDB409-8B15-ED4C-ACFC-6CCF3C19783E}" dt="2024-02-13T12:58:40.646" v="165" actId="2696"/>
        <pc:sldMkLst>
          <pc:docMk/>
          <pc:sldMk cId="3305301001" sldId="330"/>
        </pc:sldMkLst>
      </pc:sldChg>
      <pc:sldChg chg="add del">
        <pc:chgData name="Alexandra Diem" userId="c8039d65-2c3c-4c00-be8a-a6c2a8ef2749" providerId="ADAL" clId="{9EBDB409-8B15-ED4C-ACFC-6CCF3C19783E}" dt="2024-02-13T12:58:40.665" v="168" actId="2696"/>
        <pc:sldMkLst>
          <pc:docMk/>
          <pc:sldMk cId="2215716835" sldId="331"/>
        </pc:sldMkLst>
      </pc:sldChg>
      <pc:sldChg chg="modSp add mod">
        <pc:chgData name="Alexandra Diem" userId="c8039d65-2c3c-4c00-be8a-a6c2a8ef2749" providerId="ADAL" clId="{9EBDB409-8B15-ED4C-ACFC-6CCF3C19783E}" dt="2024-02-14T08:21:12.669" v="899" actId="20577"/>
        <pc:sldMkLst>
          <pc:docMk/>
          <pc:sldMk cId="1393970876" sldId="2147376419"/>
        </pc:sldMkLst>
        <pc:spChg chg="mod">
          <ac:chgData name="Alexandra Diem" userId="c8039d65-2c3c-4c00-be8a-a6c2a8ef2749" providerId="ADAL" clId="{9EBDB409-8B15-ED4C-ACFC-6CCF3C19783E}" dt="2024-02-14T08:18:08.187" v="460" actId="20577"/>
          <ac:spMkLst>
            <pc:docMk/>
            <pc:sldMk cId="1393970876" sldId="2147376419"/>
            <ac:spMk id="8" creationId="{CFA299B2-0011-3402-7163-BDC9F02353C6}"/>
          </ac:spMkLst>
        </pc:spChg>
        <pc:spChg chg="mod">
          <ac:chgData name="Alexandra Diem" userId="c8039d65-2c3c-4c00-be8a-a6c2a8ef2749" providerId="ADAL" clId="{9EBDB409-8B15-ED4C-ACFC-6CCF3C19783E}" dt="2024-02-14T08:13:30.849" v="273"/>
          <ac:spMkLst>
            <pc:docMk/>
            <pc:sldMk cId="1393970876" sldId="2147376419"/>
            <ac:spMk id="9" creationId="{3C0A54CA-9341-66E8-427D-904766E3B214}"/>
          </ac:spMkLst>
        </pc:spChg>
        <pc:spChg chg="mod">
          <ac:chgData name="Alexandra Diem" userId="c8039d65-2c3c-4c00-be8a-a6c2a8ef2749" providerId="ADAL" clId="{9EBDB409-8B15-ED4C-ACFC-6CCF3C19783E}" dt="2024-02-14T08:19:34.850" v="710" actId="20577"/>
          <ac:spMkLst>
            <pc:docMk/>
            <pc:sldMk cId="1393970876" sldId="2147376419"/>
            <ac:spMk id="28" creationId="{92A698F9-0961-F80F-27C0-705DE61C4FC5}"/>
          </ac:spMkLst>
        </pc:spChg>
        <pc:spChg chg="mod">
          <ac:chgData name="Alexandra Diem" userId="c8039d65-2c3c-4c00-be8a-a6c2a8ef2749" providerId="ADAL" clId="{9EBDB409-8B15-ED4C-ACFC-6CCF3C19783E}" dt="2024-02-14T08:20:01.679" v="781" actId="20577"/>
          <ac:spMkLst>
            <pc:docMk/>
            <pc:sldMk cId="1393970876" sldId="2147376419"/>
            <ac:spMk id="29" creationId="{24EE92B8-B249-CB81-868C-9671BB267F5C}"/>
          </ac:spMkLst>
        </pc:spChg>
        <pc:spChg chg="mod">
          <ac:chgData name="Alexandra Diem" userId="c8039d65-2c3c-4c00-be8a-a6c2a8ef2749" providerId="ADAL" clId="{9EBDB409-8B15-ED4C-ACFC-6CCF3C19783E}" dt="2024-02-14T08:18:25.032" v="512" actId="20577"/>
          <ac:spMkLst>
            <pc:docMk/>
            <pc:sldMk cId="1393970876" sldId="2147376419"/>
            <ac:spMk id="34" creationId="{C0489A6B-80EF-A596-65CF-2E0ECE5DAEBD}"/>
          </ac:spMkLst>
        </pc:spChg>
        <pc:spChg chg="mod">
          <ac:chgData name="Alexandra Diem" userId="c8039d65-2c3c-4c00-be8a-a6c2a8ef2749" providerId="ADAL" clId="{9EBDB409-8B15-ED4C-ACFC-6CCF3C19783E}" dt="2024-02-14T08:18:45.914" v="584" actId="20577"/>
          <ac:spMkLst>
            <pc:docMk/>
            <pc:sldMk cId="1393970876" sldId="2147376419"/>
            <ac:spMk id="35" creationId="{B1FC2E78-8335-83CC-6F60-3168FA695653}"/>
          </ac:spMkLst>
        </pc:spChg>
        <pc:spChg chg="mod">
          <ac:chgData name="Alexandra Diem" userId="c8039d65-2c3c-4c00-be8a-a6c2a8ef2749" providerId="ADAL" clId="{9EBDB409-8B15-ED4C-ACFC-6CCF3C19783E}" dt="2024-02-14T08:19:02.819" v="638" actId="20577"/>
          <ac:spMkLst>
            <pc:docMk/>
            <pc:sldMk cId="1393970876" sldId="2147376419"/>
            <ac:spMk id="36" creationId="{681445B0-74D6-3410-43E4-F88D5C92A3B2}"/>
          </ac:spMkLst>
        </pc:spChg>
        <pc:spChg chg="mod">
          <ac:chgData name="Alexandra Diem" userId="c8039d65-2c3c-4c00-be8a-a6c2a8ef2749" providerId="ADAL" clId="{9EBDB409-8B15-ED4C-ACFC-6CCF3C19783E}" dt="2024-02-14T08:21:12.669" v="899" actId="20577"/>
          <ac:spMkLst>
            <pc:docMk/>
            <pc:sldMk cId="1393970876" sldId="2147376419"/>
            <ac:spMk id="37" creationId="{2EE5893B-9D58-CF23-33CA-A968C2B9866B}"/>
          </ac:spMkLst>
        </pc:spChg>
        <pc:spChg chg="mod">
          <ac:chgData name="Alexandra Diem" userId="c8039d65-2c3c-4c00-be8a-a6c2a8ef2749" providerId="ADAL" clId="{9EBDB409-8B15-ED4C-ACFC-6CCF3C19783E}" dt="2024-02-14T08:20:35.875" v="859" actId="14100"/>
          <ac:spMkLst>
            <pc:docMk/>
            <pc:sldMk cId="1393970876" sldId="2147376419"/>
            <ac:spMk id="38" creationId="{7D3AE3E4-E6CF-3F89-8FB5-0EAAA105A76B}"/>
          </ac:spMkLst>
        </pc:spChg>
        <pc:spChg chg="mod">
          <ac:chgData name="Alexandra Diem" userId="c8039d65-2c3c-4c00-be8a-a6c2a8ef2749" providerId="ADAL" clId="{9EBDB409-8B15-ED4C-ACFC-6CCF3C19783E}" dt="2024-02-14T08:16:27.323" v="429"/>
          <ac:spMkLst>
            <pc:docMk/>
            <pc:sldMk cId="1393970876" sldId="2147376419"/>
            <ac:spMk id="43" creationId="{D71491CD-CC44-18EE-309B-EB55C4A701D9}"/>
          </ac:spMkLst>
        </pc:spChg>
        <pc:spChg chg="mod">
          <ac:chgData name="Alexandra Diem" userId="c8039d65-2c3c-4c00-be8a-a6c2a8ef2749" providerId="ADAL" clId="{9EBDB409-8B15-ED4C-ACFC-6CCF3C19783E}" dt="2024-02-14T08:15:08.332" v="428" actId="20577"/>
          <ac:spMkLst>
            <pc:docMk/>
            <pc:sldMk cId="1393970876" sldId="2147376419"/>
            <ac:spMk id="61" creationId="{BDCB9281-7B07-0B42-171A-14BF1F04DBD2}"/>
          </ac:spMkLst>
        </pc:spChg>
        <pc:spChg chg="mod">
          <ac:chgData name="Alexandra Diem" userId="c8039d65-2c3c-4c00-be8a-a6c2a8ef2749" providerId="ADAL" clId="{9EBDB409-8B15-ED4C-ACFC-6CCF3C19783E}" dt="2024-02-14T08:14:55.348" v="399" actId="20577"/>
          <ac:spMkLst>
            <pc:docMk/>
            <pc:sldMk cId="1393970876" sldId="2147376419"/>
            <ac:spMk id="62" creationId="{25A6A25F-53F0-CAEA-38EE-5B32506D7DEB}"/>
          </ac:spMkLst>
        </pc:spChg>
        <pc:spChg chg="mod">
          <ac:chgData name="Alexandra Diem" userId="c8039d65-2c3c-4c00-be8a-a6c2a8ef2749" providerId="ADAL" clId="{9EBDB409-8B15-ED4C-ACFC-6CCF3C19783E}" dt="2024-02-14T08:15:00.991" v="408" actId="20577"/>
          <ac:spMkLst>
            <pc:docMk/>
            <pc:sldMk cId="1393970876" sldId="2147376419"/>
            <ac:spMk id="63" creationId="{9175F7AF-3E42-ADD4-55C7-B21832A326E2}"/>
          </ac:spMkLst>
        </pc:spChg>
        <pc:spChg chg="mod">
          <ac:chgData name="Alexandra Diem" userId="c8039d65-2c3c-4c00-be8a-a6c2a8ef2749" providerId="ADAL" clId="{9EBDB409-8B15-ED4C-ACFC-6CCF3C19783E}" dt="2024-02-14T08:14:57.712" v="401" actId="20577"/>
          <ac:spMkLst>
            <pc:docMk/>
            <pc:sldMk cId="1393970876" sldId="2147376419"/>
            <ac:spMk id="67" creationId="{F78CE0D7-3122-A455-131A-EA59936048A7}"/>
          </ac:spMkLst>
        </pc:spChg>
        <pc:picChg chg="mod">
          <ac:chgData name="Alexandra Diem" userId="c8039d65-2c3c-4c00-be8a-a6c2a8ef2749" providerId="ADAL" clId="{9EBDB409-8B15-ED4C-ACFC-6CCF3C19783E}" dt="2024-02-14T08:20:41.194" v="860" actId="1076"/>
          <ac:picMkLst>
            <pc:docMk/>
            <pc:sldMk cId="1393970876" sldId="2147376419"/>
            <ac:picMk id="51" creationId="{3181C467-39CE-06E0-3192-E7A6C3EF39D2}"/>
          </ac:picMkLst>
        </pc:picChg>
      </pc:sldChg>
      <pc:sldChg chg="modSp add mod">
        <pc:chgData name="Alexandra Diem" userId="c8039d65-2c3c-4c00-be8a-a6c2a8ef2749" providerId="ADAL" clId="{9EBDB409-8B15-ED4C-ACFC-6CCF3C19783E}" dt="2024-02-14T08:14:47.928" v="391"/>
        <pc:sldMkLst>
          <pc:docMk/>
          <pc:sldMk cId="4099146033" sldId="2147376420"/>
        </pc:sldMkLst>
        <pc:spChg chg="mod">
          <ac:chgData name="Alexandra Diem" userId="c8039d65-2c3c-4c00-be8a-a6c2a8ef2749" providerId="ADAL" clId="{9EBDB409-8B15-ED4C-ACFC-6CCF3C19783E}" dt="2024-02-14T08:13:33.507" v="274"/>
          <ac:spMkLst>
            <pc:docMk/>
            <pc:sldMk cId="4099146033" sldId="2147376420"/>
            <ac:spMk id="9" creationId="{3C0A54CA-9341-66E8-427D-904766E3B214}"/>
          </ac:spMkLst>
        </pc:spChg>
        <pc:spChg chg="mod">
          <ac:chgData name="Alexandra Diem" userId="c8039d65-2c3c-4c00-be8a-a6c2a8ef2749" providerId="ADAL" clId="{9EBDB409-8B15-ED4C-ACFC-6CCF3C19783E}" dt="2024-02-14T08:14:05.221" v="340" actId="20577"/>
          <ac:spMkLst>
            <pc:docMk/>
            <pc:sldMk cId="4099146033" sldId="2147376420"/>
            <ac:spMk id="43" creationId="{D71491CD-CC44-18EE-309B-EB55C4A701D9}"/>
          </ac:spMkLst>
        </pc:spChg>
        <pc:spChg chg="mod">
          <ac:chgData name="Alexandra Diem" userId="c8039d65-2c3c-4c00-be8a-a6c2a8ef2749" providerId="ADAL" clId="{9EBDB409-8B15-ED4C-ACFC-6CCF3C19783E}" dt="2024-02-14T08:14:25.919" v="365" actId="20577"/>
          <ac:spMkLst>
            <pc:docMk/>
            <pc:sldMk cId="4099146033" sldId="2147376420"/>
            <ac:spMk id="61" creationId="{BDCB9281-7B07-0B42-171A-14BF1F04DBD2}"/>
          </ac:spMkLst>
        </pc:spChg>
        <pc:spChg chg="mod">
          <ac:chgData name="Alexandra Diem" userId="c8039d65-2c3c-4c00-be8a-a6c2a8ef2749" providerId="ADAL" clId="{9EBDB409-8B15-ED4C-ACFC-6CCF3C19783E}" dt="2024-02-14T08:14:44.493" v="389" actId="20577"/>
          <ac:spMkLst>
            <pc:docMk/>
            <pc:sldMk cId="4099146033" sldId="2147376420"/>
            <ac:spMk id="62" creationId="{25A6A25F-53F0-CAEA-38EE-5B32506D7DEB}"/>
          </ac:spMkLst>
        </pc:spChg>
        <pc:spChg chg="mod">
          <ac:chgData name="Alexandra Diem" userId="c8039d65-2c3c-4c00-be8a-a6c2a8ef2749" providerId="ADAL" clId="{9EBDB409-8B15-ED4C-ACFC-6CCF3C19783E}" dt="2024-02-14T08:14:47.928" v="391"/>
          <ac:spMkLst>
            <pc:docMk/>
            <pc:sldMk cId="4099146033" sldId="2147376420"/>
            <ac:spMk id="63" creationId="{9175F7AF-3E42-ADD4-55C7-B21832A326E2}"/>
          </ac:spMkLst>
        </pc:spChg>
        <pc:spChg chg="mod">
          <ac:chgData name="Alexandra Diem" userId="c8039d65-2c3c-4c00-be8a-a6c2a8ef2749" providerId="ADAL" clId="{9EBDB409-8B15-ED4C-ACFC-6CCF3C19783E}" dt="2024-02-14T08:14:46.974" v="390"/>
          <ac:spMkLst>
            <pc:docMk/>
            <pc:sldMk cId="4099146033" sldId="2147376420"/>
            <ac:spMk id="67" creationId="{F78CE0D7-3122-A455-131A-EA59936048A7}"/>
          </ac:spMkLst>
        </pc:spChg>
      </pc:sldChg>
      <pc:sldChg chg="modSp mod">
        <pc:chgData name="Alexandra Diem" userId="c8039d65-2c3c-4c00-be8a-a6c2a8ef2749" providerId="ADAL" clId="{9EBDB409-8B15-ED4C-ACFC-6CCF3C19783E}" dt="2024-02-14T07:56:04.948" v="176"/>
        <pc:sldMkLst>
          <pc:docMk/>
          <pc:sldMk cId="2664691808" sldId="2147376427"/>
        </pc:sldMkLst>
        <pc:spChg chg="mod">
          <ac:chgData name="Alexandra Diem" userId="c8039d65-2c3c-4c00-be8a-a6c2a8ef2749" providerId="ADAL" clId="{9EBDB409-8B15-ED4C-ACFC-6CCF3C19783E}" dt="2024-02-14T07:56:04.948" v="176"/>
          <ac:spMkLst>
            <pc:docMk/>
            <pc:sldMk cId="2664691808" sldId="2147376427"/>
            <ac:spMk id="4" creationId="{4E69131F-6721-373B-570C-3C01365B4E21}"/>
          </ac:spMkLst>
        </pc:spChg>
      </pc:sldChg>
      <pc:sldChg chg="addSp delSp modSp add del mod modShow chgLayout">
        <pc:chgData name="Alexandra Diem" userId="c8039d65-2c3c-4c00-be8a-a6c2a8ef2749" providerId="ADAL" clId="{9EBDB409-8B15-ED4C-ACFC-6CCF3C19783E}" dt="2024-02-14T20:16:44.082" v="1844" actId="2696"/>
        <pc:sldMkLst>
          <pc:docMk/>
          <pc:sldMk cId="321284166" sldId="2147376429"/>
        </pc:sldMkLst>
        <pc:spChg chg="add del mod ord">
          <ac:chgData name="Alexandra Diem" userId="c8039d65-2c3c-4c00-be8a-a6c2a8ef2749" providerId="ADAL" clId="{9EBDB409-8B15-ED4C-ACFC-6CCF3C19783E}" dt="2024-02-14T07:59:10.602" v="218" actId="478"/>
          <ac:spMkLst>
            <pc:docMk/>
            <pc:sldMk cId="321284166" sldId="2147376429"/>
            <ac:spMk id="2" creationId="{BC5358AA-4EC0-BF6E-04DA-188A86B894D6}"/>
          </ac:spMkLst>
        </pc:spChg>
        <pc:spChg chg="add del mod ord">
          <ac:chgData name="Alexandra Diem" userId="c8039d65-2c3c-4c00-be8a-a6c2a8ef2749" providerId="ADAL" clId="{9EBDB409-8B15-ED4C-ACFC-6CCF3C19783E}" dt="2024-02-14T07:59:11.757" v="219" actId="478"/>
          <ac:spMkLst>
            <pc:docMk/>
            <pc:sldMk cId="321284166" sldId="2147376429"/>
            <ac:spMk id="3" creationId="{07F42878-DA45-39A9-0E4E-6B935CEA35F4}"/>
          </ac:spMkLst>
        </pc:spChg>
        <pc:spChg chg="add del mod ord">
          <ac:chgData name="Alexandra Diem" userId="c8039d65-2c3c-4c00-be8a-a6c2a8ef2749" providerId="ADAL" clId="{9EBDB409-8B15-ED4C-ACFC-6CCF3C19783E}" dt="2024-02-14T07:59:09.933" v="217" actId="478"/>
          <ac:spMkLst>
            <pc:docMk/>
            <pc:sldMk cId="321284166" sldId="2147376429"/>
            <ac:spMk id="4" creationId="{900F8E2D-F87F-E970-0923-73757A28C88D}"/>
          </ac:spMkLst>
        </pc:spChg>
        <pc:spChg chg="add del mod ord">
          <ac:chgData name="Alexandra Diem" userId="c8039d65-2c3c-4c00-be8a-a6c2a8ef2749" providerId="ADAL" clId="{9EBDB409-8B15-ED4C-ACFC-6CCF3C19783E}" dt="2024-02-14T08:01:26.413" v="264" actId="478"/>
          <ac:spMkLst>
            <pc:docMk/>
            <pc:sldMk cId="321284166" sldId="2147376429"/>
            <ac:spMk id="5" creationId="{B8B06E42-E39C-E593-69E9-B5DB5B127CCB}"/>
          </ac:spMkLst>
        </pc:spChg>
        <pc:spChg chg="add del mod ord">
          <ac:chgData name="Alexandra Diem" userId="c8039d65-2c3c-4c00-be8a-a6c2a8ef2749" providerId="ADAL" clId="{9EBDB409-8B15-ED4C-ACFC-6CCF3C19783E}" dt="2024-02-14T07:59:35.224" v="220"/>
          <ac:spMkLst>
            <pc:docMk/>
            <pc:sldMk cId="321284166" sldId="2147376429"/>
            <ac:spMk id="6" creationId="{BC52241E-6243-D9BB-1AB6-06A7BF730896}"/>
          </ac:spMkLst>
        </pc:spChg>
        <pc:spChg chg="add del mod ord">
          <ac:chgData name="Alexandra Diem" userId="c8039d65-2c3c-4c00-be8a-a6c2a8ef2749" providerId="ADAL" clId="{9EBDB409-8B15-ED4C-ACFC-6CCF3C19783E}" dt="2024-02-14T08:01:29.143" v="266" actId="478"/>
          <ac:spMkLst>
            <pc:docMk/>
            <pc:sldMk cId="321284166" sldId="2147376429"/>
            <ac:spMk id="7" creationId="{CFD72513-8C39-AAA9-7ABC-63D382C98BAF}"/>
          </ac:spMkLst>
        </pc:spChg>
        <pc:spChg chg="mod ord">
          <ac:chgData name="Alexandra Diem" userId="c8039d65-2c3c-4c00-be8a-a6c2a8ef2749" providerId="ADAL" clId="{9EBDB409-8B15-ED4C-ACFC-6CCF3C19783E}" dt="2024-02-14T07:59:04.861" v="216" actId="700"/>
          <ac:spMkLst>
            <pc:docMk/>
            <pc:sldMk cId="321284166" sldId="2147376429"/>
            <ac:spMk id="8" creationId="{59D19E5B-902A-0E9C-B878-C23E5B0BF8EB}"/>
          </ac:spMkLst>
        </pc:spChg>
        <pc:spChg chg="del">
          <ac:chgData name="Alexandra Diem" userId="c8039d65-2c3c-4c00-be8a-a6c2a8ef2749" providerId="ADAL" clId="{9EBDB409-8B15-ED4C-ACFC-6CCF3C19783E}" dt="2024-02-14T07:59:04.861" v="216" actId="700"/>
          <ac:spMkLst>
            <pc:docMk/>
            <pc:sldMk cId="321284166" sldId="2147376429"/>
            <ac:spMk id="12" creationId="{D810E789-074C-ECCC-B711-D4B60D3F259A}"/>
          </ac:spMkLst>
        </pc:spChg>
        <pc:spChg chg="mod">
          <ac:chgData name="Alexandra Diem" userId="c8039d65-2c3c-4c00-be8a-a6c2a8ef2749" providerId="ADAL" clId="{9EBDB409-8B15-ED4C-ACFC-6CCF3C19783E}" dt="2024-02-14T08:00:55.826" v="243" actId="1076"/>
          <ac:spMkLst>
            <pc:docMk/>
            <pc:sldMk cId="321284166" sldId="2147376429"/>
            <ac:spMk id="14" creationId="{1AC9BF97-1D69-654F-444A-996A2F0C6456}"/>
          </ac:spMkLst>
        </pc:spChg>
        <pc:spChg chg="mod">
          <ac:chgData name="Alexandra Diem" userId="c8039d65-2c3c-4c00-be8a-a6c2a8ef2749" providerId="ADAL" clId="{9EBDB409-8B15-ED4C-ACFC-6CCF3C19783E}" dt="2024-02-14T08:00:36.100" v="239" actId="14100"/>
          <ac:spMkLst>
            <pc:docMk/>
            <pc:sldMk cId="321284166" sldId="2147376429"/>
            <ac:spMk id="15" creationId="{CE4CF0C9-CAC2-C58B-AE06-F1036D7232BE}"/>
          </ac:spMkLst>
        </pc:spChg>
        <pc:spChg chg="mod">
          <ac:chgData name="Alexandra Diem" userId="c8039d65-2c3c-4c00-be8a-a6c2a8ef2749" providerId="ADAL" clId="{9EBDB409-8B15-ED4C-ACFC-6CCF3C19783E}" dt="2024-02-14T08:01:34.604" v="268" actId="1035"/>
          <ac:spMkLst>
            <pc:docMk/>
            <pc:sldMk cId="321284166" sldId="2147376429"/>
            <ac:spMk id="16" creationId="{0DBB4A6C-E350-B50B-0943-CC57171BEB89}"/>
          </ac:spMkLst>
        </pc:spChg>
        <pc:spChg chg="mod">
          <ac:chgData name="Alexandra Diem" userId="c8039d65-2c3c-4c00-be8a-a6c2a8ef2749" providerId="ADAL" clId="{9EBDB409-8B15-ED4C-ACFC-6CCF3C19783E}" dt="2024-02-14T08:01:32.782" v="267" actId="1035"/>
          <ac:spMkLst>
            <pc:docMk/>
            <pc:sldMk cId="321284166" sldId="2147376429"/>
            <ac:spMk id="17" creationId="{1648DC1E-71D4-38FB-C8EF-4302EA163693}"/>
          </ac:spMkLst>
        </pc:spChg>
        <pc:spChg chg="mod">
          <ac:chgData name="Alexandra Diem" userId="c8039d65-2c3c-4c00-be8a-a6c2a8ef2749" providerId="ADAL" clId="{9EBDB409-8B15-ED4C-ACFC-6CCF3C19783E}" dt="2024-02-14T08:01:05.011" v="245" actId="1076"/>
          <ac:spMkLst>
            <pc:docMk/>
            <pc:sldMk cId="321284166" sldId="2147376429"/>
            <ac:spMk id="18" creationId="{6221D79B-9E74-2736-69E7-E472DEA3ED3D}"/>
          </ac:spMkLst>
        </pc:spChg>
        <pc:spChg chg="mod">
          <ac:chgData name="Alexandra Diem" userId="c8039d65-2c3c-4c00-be8a-a6c2a8ef2749" providerId="ADAL" clId="{9EBDB409-8B15-ED4C-ACFC-6CCF3C19783E}" dt="2024-02-14T08:00:42.433" v="241" actId="1076"/>
          <ac:spMkLst>
            <pc:docMk/>
            <pc:sldMk cId="321284166" sldId="2147376429"/>
            <ac:spMk id="19" creationId="{C0BD49AB-12F8-59FB-D4D6-5500AC56EDE3}"/>
          </ac:spMkLst>
        </pc:spChg>
        <pc:spChg chg="mod">
          <ac:chgData name="Alexandra Diem" userId="c8039d65-2c3c-4c00-be8a-a6c2a8ef2749" providerId="ADAL" clId="{9EBDB409-8B15-ED4C-ACFC-6CCF3C19783E}" dt="2024-02-14T08:00:28.244" v="237" actId="14100"/>
          <ac:spMkLst>
            <pc:docMk/>
            <pc:sldMk cId="321284166" sldId="2147376429"/>
            <ac:spMk id="20" creationId="{DC123ACD-1994-720E-2B69-EFAAD6A06C75}"/>
          </ac:spMkLst>
        </pc:spChg>
        <pc:spChg chg="mod">
          <ac:chgData name="Alexandra Diem" userId="c8039d65-2c3c-4c00-be8a-a6c2a8ef2749" providerId="ADAL" clId="{9EBDB409-8B15-ED4C-ACFC-6CCF3C19783E}" dt="2024-02-14T08:00:25.660" v="235" actId="14100"/>
          <ac:spMkLst>
            <pc:docMk/>
            <pc:sldMk cId="321284166" sldId="2147376429"/>
            <ac:spMk id="21" creationId="{52C0E1B5-7087-6C53-73AF-6E1DD162CBCB}"/>
          </ac:spMkLst>
        </pc:spChg>
        <pc:spChg chg="mod">
          <ac:chgData name="Alexandra Diem" userId="c8039d65-2c3c-4c00-be8a-a6c2a8ef2749" providerId="ADAL" clId="{9EBDB409-8B15-ED4C-ACFC-6CCF3C19783E}" dt="2024-02-14T08:00:23.507" v="234" actId="1076"/>
          <ac:spMkLst>
            <pc:docMk/>
            <pc:sldMk cId="321284166" sldId="2147376429"/>
            <ac:spMk id="22" creationId="{86B43396-B6E2-FA53-F0C1-AB505B02D45D}"/>
          </ac:spMkLst>
        </pc:spChg>
        <pc:spChg chg="mod">
          <ac:chgData name="Alexandra Diem" userId="c8039d65-2c3c-4c00-be8a-a6c2a8ef2749" providerId="ADAL" clId="{9EBDB409-8B15-ED4C-ACFC-6CCF3C19783E}" dt="2024-02-14T08:03:41.803" v="271" actId="1036"/>
          <ac:spMkLst>
            <pc:docMk/>
            <pc:sldMk cId="321284166" sldId="2147376429"/>
            <ac:spMk id="23" creationId="{F68D92FA-72C2-CE9F-1C06-1CEC060E5A26}"/>
          </ac:spMkLst>
        </pc:spChg>
        <pc:spChg chg="mod">
          <ac:chgData name="Alexandra Diem" userId="c8039d65-2c3c-4c00-be8a-a6c2a8ef2749" providerId="ADAL" clId="{9EBDB409-8B15-ED4C-ACFC-6CCF3C19783E}" dt="2024-02-14T07:59:46.147" v="224" actId="1076"/>
          <ac:spMkLst>
            <pc:docMk/>
            <pc:sldMk cId="321284166" sldId="2147376429"/>
            <ac:spMk id="24" creationId="{D8B20D87-F899-3750-0B27-AB4AB8382615}"/>
          </ac:spMkLst>
        </pc:spChg>
        <pc:spChg chg="mod">
          <ac:chgData name="Alexandra Diem" userId="c8039d65-2c3c-4c00-be8a-a6c2a8ef2749" providerId="ADAL" clId="{9EBDB409-8B15-ED4C-ACFC-6CCF3C19783E}" dt="2024-02-14T07:59:44.080" v="223" actId="1076"/>
          <ac:spMkLst>
            <pc:docMk/>
            <pc:sldMk cId="321284166" sldId="2147376429"/>
            <ac:spMk id="25" creationId="{6AD8D27E-A601-C35E-5EFB-FD275510C66A}"/>
          </ac:spMkLst>
        </pc:spChg>
        <pc:spChg chg="mod">
          <ac:chgData name="Alexandra Diem" userId="c8039d65-2c3c-4c00-be8a-a6c2a8ef2749" providerId="ADAL" clId="{9EBDB409-8B15-ED4C-ACFC-6CCF3C19783E}" dt="2024-02-14T07:59:42.343" v="222" actId="1076"/>
          <ac:spMkLst>
            <pc:docMk/>
            <pc:sldMk cId="321284166" sldId="2147376429"/>
            <ac:spMk id="26" creationId="{A184AF3D-EA82-280B-EAE0-23D6470D713D}"/>
          </ac:spMkLst>
        </pc:spChg>
        <pc:spChg chg="mod">
          <ac:chgData name="Alexandra Diem" userId="c8039d65-2c3c-4c00-be8a-a6c2a8ef2749" providerId="ADAL" clId="{9EBDB409-8B15-ED4C-ACFC-6CCF3C19783E}" dt="2024-02-14T07:59:40.844" v="221" actId="1076"/>
          <ac:spMkLst>
            <pc:docMk/>
            <pc:sldMk cId="321284166" sldId="2147376429"/>
            <ac:spMk id="27" creationId="{E4F7D21E-A8D2-7182-AC2C-DC2E6ED41D74}"/>
          </ac:spMkLst>
        </pc:spChg>
        <pc:picChg chg="add mod">
          <ac:chgData name="Alexandra Diem" userId="c8039d65-2c3c-4c00-be8a-a6c2a8ef2749" providerId="ADAL" clId="{9EBDB409-8B15-ED4C-ACFC-6CCF3C19783E}" dt="2024-02-14T08:01:19.392" v="263" actId="1038"/>
          <ac:picMkLst>
            <pc:docMk/>
            <pc:sldMk cId="321284166" sldId="2147376429"/>
            <ac:picMk id="9" creationId="{1159ED32-2977-ADE9-70A1-ACD6E33C2472}"/>
          </ac:picMkLst>
        </pc:picChg>
        <pc:picChg chg="del mod">
          <ac:chgData name="Alexandra Diem" userId="c8039d65-2c3c-4c00-be8a-a6c2a8ef2749" providerId="ADAL" clId="{9EBDB409-8B15-ED4C-ACFC-6CCF3C19783E}" dt="2024-02-14T07:58:57.173" v="215" actId="478"/>
          <ac:picMkLst>
            <pc:docMk/>
            <pc:sldMk cId="321284166" sldId="2147376429"/>
            <ac:picMk id="18434" creationId="{E8FE2354-ACDA-0D80-5777-0CDECCFF34CE}"/>
          </ac:picMkLst>
        </pc:picChg>
      </pc:sldChg>
      <pc:sldChg chg="modSp mod ord">
        <pc:chgData name="Alexandra Diem" userId="c8039d65-2c3c-4c00-be8a-a6c2a8ef2749" providerId="ADAL" clId="{9EBDB409-8B15-ED4C-ACFC-6CCF3C19783E}" dt="2024-02-14T20:17:06.026" v="1848" actId="20578"/>
        <pc:sldMkLst>
          <pc:docMk/>
          <pc:sldMk cId="1268106543" sldId="2147481410"/>
        </pc:sldMkLst>
        <pc:spChg chg="mod">
          <ac:chgData name="Alexandra Diem" userId="c8039d65-2c3c-4c00-be8a-a6c2a8ef2749" providerId="ADAL" clId="{9EBDB409-8B15-ED4C-ACFC-6CCF3C19783E}" dt="2024-02-13T12:56:06.063" v="86"/>
          <ac:spMkLst>
            <pc:docMk/>
            <pc:sldMk cId="1268106543" sldId="2147481410"/>
            <ac:spMk id="5" creationId="{11774BFF-1DE4-0157-63AB-7373A5010E32}"/>
          </ac:spMkLst>
        </pc:spChg>
      </pc:sldChg>
      <pc:sldChg chg="modSp mod">
        <pc:chgData name="Alexandra Diem" userId="c8039d65-2c3c-4c00-be8a-a6c2a8ef2749" providerId="ADAL" clId="{9EBDB409-8B15-ED4C-ACFC-6CCF3C19783E}" dt="2024-02-13T10:11:38.900" v="82" actId="20577"/>
        <pc:sldMkLst>
          <pc:docMk/>
          <pc:sldMk cId="2820531609" sldId="2147481434"/>
        </pc:sldMkLst>
        <pc:spChg chg="mod">
          <ac:chgData name="Alexandra Diem" userId="c8039d65-2c3c-4c00-be8a-a6c2a8ef2749" providerId="ADAL" clId="{9EBDB409-8B15-ED4C-ACFC-6CCF3C19783E}" dt="2024-02-13T10:11:38.900" v="82" actId="20577"/>
          <ac:spMkLst>
            <pc:docMk/>
            <pc:sldMk cId="2820531609" sldId="2147481434"/>
            <ac:spMk id="24" creationId="{992BF44B-4F0E-EF36-F496-A27B7F5F71C7}"/>
          </ac:spMkLst>
        </pc:spChg>
      </pc:sldChg>
      <pc:sldChg chg="modSp mod ord">
        <pc:chgData name="Alexandra Diem" userId="c8039d65-2c3c-4c00-be8a-a6c2a8ef2749" providerId="ADAL" clId="{9EBDB409-8B15-ED4C-ACFC-6CCF3C19783E}" dt="2024-02-13T12:56:15.722" v="88" actId="20578"/>
        <pc:sldMkLst>
          <pc:docMk/>
          <pc:sldMk cId="2336985086" sldId="2147481436"/>
        </pc:sldMkLst>
        <pc:spChg chg="mod">
          <ac:chgData name="Alexandra Diem" userId="c8039d65-2c3c-4c00-be8a-a6c2a8ef2749" providerId="ADAL" clId="{9EBDB409-8B15-ED4C-ACFC-6CCF3C19783E}" dt="2024-02-13T12:56:11.156" v="87"/>
          <ac:spMkLst>
            <pc:docMk/>
            <pc:sldMk cId="2336985086" sldId="2147481436"/>
            <ac:spMk id="6" creationId="{94E73ACC-A841-DA6E-4A98-5A7FC4E93B64}"/>
          </ac:spMkLst>
        </pc:spChg>
      </pc:sldChg>
      <pc:sldChg chg="add del">
        <pc:chgData name="Alexandra Diem" userId="c8039d65-2c3c-4c00-be8a-a6c2a8ef2749" providerId="ADAL" clId="{9EBDB409-8B15-ED4C-ACFC-6CCF3C19783E}" dt="2024-02-13T12:58:40.616" v="152" actId="2696"/>
        <pc:sldMkLst>
          <pc:docMk/>
          <pc:sldMk cId="1836344985" sldId="2147481437"/>
        </pc:sldMkLst>
      </pc:sldChg>
      <pc:sldChg chg="modSp mod ord">
        <pc:chgData name="Alexandra Diem" userId="c8039d65-2c3c-4c00-be8a-a6c2a8ef2749" providerId="ADAL" clId="{9EBDB409-8B15-ED4C-ACFC-6CCF3C19783E}" dt="2024-02-14T20:16:38.333" v="1843" actId="20578"/>
        <pc:sldMkLst>
          <pc:docMk/>
          <pc:sldMk cId="1513698947" sldId="2147481438"/>
        </pc:sldMkLst>
        <pc:picChg chg="mod">
          <ac:chgData name="Alexandra Diem" userId="c8039d65-2c3c-4c00-be8a-a6c2a8ef2749" providerId="ADAL" clId="{9EBDB409-8B15-ED4C-ACFC-6CCF3C19783E}" dt="2024-02-14T07:54:40.151" v="169" actId="14826"/>
          <ac:picMkLst>
            <pc:docMk/>
            <pc:sldMk cId="1513698947" sldId="2147481438"/>
            <ac:picMk id="11" creationId="{712E456E-F3A9-9233-A8D2-329A0C3ECDD1}"/>
          </ac:picMkLst>
        </pc:picChg>
      </pc:sldChg>
      <pc:sldChg chg="modSp mod">
        <pc:chgData name="Alexandra Diem" userId="c8039d65-2c3c-4c00-be8a-a6c2a8ef2749" providerId="ADAL" clId="{9EBDB409-8B15-ED4C-ACFC-6CCF3C19783E}" dt="2024-02-14T07:56:00.989" v="175"/>
        <pc:sldMkLst>
          <pc:docMk/>
          <pc:sldMk cId="1361890926" sldId="2147481439"/>
        </pc:sldMkLst>
        <pc:spChg chg="mod">
          <ac:chgData name="Alexandra Diem" userId="c8039d65-2c3c-4c00-be8a-a6c2a8ef2749" providerId="ADAL" clId="{9EBDB409-8B15-ED4C-ACFC-6CCF3C19783E}" dt="2024-02-14T07:56:00.989" v="175"/>
          <ac:spMkLst>
            <pc:docMk/>
            <pc:sldMk cId="1361890926" sldId="2147481439"/>
            <ac:spMk id="8" creationId="{C336D851-DBC4-300E-C2CA-D0AFACC97A7C}"/>
          </ac:spMkLst>
        </pc:spChg>
      </pc:sldChg>
      <pc:sldChg chg="modSp add del mod ord">
        <pc:chgData name="Alexandra Diem" userId="c8039d65-2c3c-4c00-be8a-a6c2a8ef2749" providerId="ADAL" clId="{9EBDB409-8B15-ED4C-ACFC-6CCF3C19783E}" dt="2024-02-14T07:55:37.056" v="173" actId="20578"/>
        <pc:sldMkLst>
          <pc:docMk/>
          <pc:sldMk cId="3103181441" sldId="2147481440"/>
        </pc:sldMkLst>
        <pc:spChg chg="mod">
          <ac:chgData name="Alexandra Diem" userId="c8039d65-2c3c-4c00-be8a-a6c2a8ef2749" providerId="ADAL" clId="{9EBDB409-8B15-ED4C-ACFC-6CCF3C19783E}" dt="2024-02-14T07:55:08.240" v="170"/>
          <ac:spMkLst>
            <pc:docMk/>
            <pc:sldMk cId="3103181441" sldId="2147481440"/>
            <ac:spMk id="4" creationId="{C725D01A-EF51-C3A8-4A33-7686B300FD8A}"/>
          </ac:spMkLst>
        </pc:spChg>
      </pc:sldChg>
      <pc:sldChg chg="add del">
        <pc:chgData name="Alexandra Diem" userId="c8039d65-2c3c-4c00-be8a-a6c2a8ef2749" providerId="ADAL" clId="{9EBDB409-8B15-ED4C-ACFC-6CCF3C19783E}" dt="2024-02-13T12:58:02.766" v="143" actId="2696"/>
        <pc:sldMkLst>
          <pc:docMk/>
          <pc:sldMk cId="2166751019" sldId="2147481441"/>
        </pc:sldMkLst>
      </pc:sldChg>
      <pc:sldChg chg="add del">
        <pc:chgData name="Alexandra Diem" userId="c8039d65-2c3c-4c00-be8a-a6c2a8ef2749" providerId="ADAL" clId="{9EBDB409-8B15-ED4C-ACFC-6CCF3C19783E}" dt="2024-02-13T12:58:40.629" v="155" actId="2696"/>
        <pc:sldMkLst>
          <pc:docMk/>
          <pc:sldMk cId="2952956394" sldId="2147481442"/>
        </pc:sldMkLst>
      </pc:sldChg>
      <pc:sldChg chg="modSp add del mod ord">
        <pc:chgData name="Alexandra Diem" userId="c8039d65-2c3c-4c00-be8a-a6c2a8ef2749" providerId="ADAL" clId="{9EBDB409-8B15-ED4C-ACFC-6CCF3C19783E}" dt="2024-02-14T07:55:37.056" v="173" actId="20578"/>
        <pc:sldMkLst>
          <pc:docMk/>
          <pc:sldMk cId="3346795226" sldId="2147481444"/>
        </pc:sldMkLst>
        <pc:spChg chg="mod">
          <ac:chgData name="Alexandra Diem" userId="c8039d65-2c3c-4c00-be8a-a6c2a8ef2749" providerId="ADAL" clId="{9EBDB409-8B15-ED4C-ACFC-6CCF3C19783E}" dt="2024-02-14T07:55:12.003" v="171"/>
          <ac:spMkLst>
            <pc:docMk/>
            <pc:sldMk cId="3346795226" sldId="2147481444"/>
            <ac:spMk id="4" creationId="{C725D01A-EF51-C3A8-4A33-7686B300FD8A}"/>
          </ac:spMkLst>
        </pc:spChg>
      </pc:sldChg>
      <pc:sldChg chg="modSp mod">
        <pc:chgData name="Alexandra Diem" userId="c8039d65-2c3c-4c00-be8a-a6c2a8ef2749" providerId="ADAL" clId="{9EBDB409-8B15-ED4C-ACFC-6CCF3C19783E}" dt="2024-02-14T07:56:14.389" v="178"/>
        <pc:sldMkLst>
          <pc:docMk/>
          <pc:sldMk cId="820803645" sldId="2147481446"/>
        </pc:sldMkLst>
        <pc:spChg chg="mod">
          <ac:chgData name="Alexandra Diem" userId="c8039d65-2c3c-4c00-be8a-a6c2a8ef2749" providerId="ADAL" clId="{9EBDB409-8B15-ED4C-ACFC-6CCF3C19783E}" dt="2024-02-14T07:56:14.389" v="178"/>
          <ac:spMkLst>
            <pc:docMk/>
            <pc:sldMk cId="820803645" sldId="2147481446"/>
            <ac:spMk id="8" creationId="{4BE649A1-5009-265E-7A17-F7102ABEA2BA}"/>
          </ac:spMkLst>
        </pc:spChg>
      </pc:sldChg>
      <pc:sldChg chg="addSp delSp modSp add mod">
        <pc:chgData name="Alexandra Diem" userId="c8039d65-2c3c-4c00-be8a-a6c2a8ef2749" providerId="ADAL" clId="{9EBDB409-8B15-ED4C-ACFC-6CCF3C19783E}" dt="2024-02-14T07:57:51.111" v="212" actId="20577"/>
        <pc:sldMkLst>
          <pc:docMk/>
          <pc:sldMk cId="1186607817" sldId="2147481447"/>
        </pc:sldMkLst>
        <pc:spChg chg="add del mod">
          <ac:chgData name="Alexandra Diem" userId="c8039d65-2c3c-4c00-be8a-a6c2a8ef2749" providerId="ADAL" clId="{9EBDB409-8B15-ED4C-ACFC-6CCF3C19783E}" dt="2024-02-14T07:57:16.045" v="181" actId="478"/>
          <ac:spMkLst>
            <pc:docMk/>
            <pc:sldMk cId="1186607817" sldId="2147481447"/>
            <ac:spMk id="3" creationId="{2AA68DB6-FA6F-BC5D-5A15-F3F3748D92FE}"/>
          </ac:spMkLst>
        </pc:spChg>
        <pc:spChg chg="add mod">
          <ac:chgData name="Alexandra Diem" userId="c8039d65-2c3c-4c00-be8a-a6c2a8ef2749" providerId="ADAL" clId="{9EBDB409-8B15-ED4C-ACFC-6CCF3C19783E}" dt="2024-02-14T07:57:21.243" v="183"/>
          <ac:spMkLst>
            <pc:docMk/>
            <pc:sldMk cId="1186607817" sldId="2147481447"/>
            <ac:spMk id="4" creationId="{12D4BC9F-BCF6-1B7A-558F-24B7A2C34AED}"/>
          </ac:spMkLst>
        </pc:spChg>
        <pc:spChg chg="add mod">
          <ac:chgData name="Alexandra Diem" userId="c8039d65-2c3c-4c00-be8a-a6c2a8ef2749" providerId="ADAL" clId="{9EBDB409-8B15-ED4C-ACFC-6CCF3C19783E}" dt="2024-02-14T07:57:51.111" v="212" actId="20577"/>
          <ac:spMkLst>
            <pc:docMk/>
            <pc:sldMk cId="1186607817" sldId="2147481447"/>
            <ac:spMk id="5" creationId="{26070A32-FB38-8644-C089-9378CEA6DBB7}"/>
          </ac:spMkLst>
        </pc:spChg>
        <pc:spChg chg="del">
          <ac:chgData name="Alexandra Diem" userId="c8039d65-2c3c-4c00-be8a-a6c2a8ef2749" providerId="ADAL" clId="{9EBDB409-8B15-ED4C-ACFC-6CCF3C19783E}" dt="2024-02-14T07:57:11.679" v="180" actId="478"/>
          <ac:spMkLst>
            <pc:docMk/>
            <pc:sldMk cId="1186607817" sldId="2147481447"/>
            <ac:spMk id="9" creationId="{10F7AA95-AADC-659D-6AD9-C4A4792B3C22}"/>
          </ac:spMkLst>
        </pc:spChg>
        <pc:spChg chg="del">
          <ac:chgData name="Alexandra Diem" userId="c8039d65-2c3c-4c00-be8a-a6c2a8ef2749" providerId="ADAL" clId="{9EBDB409-8B15-ED4C-ACFC-6CCF3C19783E}" dt="2024-02-14T07:57:23.525" v="184" actId="478"/>
          <ac:spMkLst>
            <pc:docMk/>
            <pc:sldMk cId="1186607817" sldId="2147481447"/>
            <ac:spMk id="1037" creationId="{92DDBECE-F3C0-B025-D5DD-E563CB9B8305}"/>
          </ac:spMkLst>
        </pc:spChg>
      </pc:sldChg>
      <pc:sldChg chg="addSp delSp modSp new mod modClrScheme chgLayout">
        <pc:chgData name="Alexandra Diem" userId="c8039d65-2c3c-4c00-be8a-a6c2a8ef2749" providerId="ADAL" clId="{9EBDB409-8B15-ED4C-ACFC-6CCF3C19783E}" dt="2024-02-14T20:16:22.099" v="1842" actId="20577"/>
        <pc:sldMkLst>
          <pc:docMk/>
          <pc:sldMk cId="2148122546" sldId="2147481448"/>
        </pc:sldMkLst>
        <pc:spChg chg="del mod ord">
          <ac:chgData name="Alexandra Diem" userId="c8039d65-2c3c-4c00-be8a-a6c2a8ef2749" providerId="ADAL" clId="{9EBDB409-8B15-ED4C-ACFC-6CCF3C19783E}" dt="2024-02-14T08:21:50.356" v="900" actId="700"/>
          <ac:spMkLst>
            <pc:docMk/>
            <pc:sldMk cId="2148122546" sldId="2147481448"/>
            <ac:spMk id="2" creationId="{869DF882-1112-991A-65FC-3E32B570CB23}"/>
          </ac:spMkLst>
        </pc:spChg>
        <pc:spChg chg="mod ord">
          <ac:chgData name="Alexandra Diem" userId="c8039d65-2c3c-4c00-be8a-a6c2a8ef2749" providerId="ADAL" clId="{9EBDB409-8B15-ED4C-ACFC-6CCF3C19783E}" dt="2024-02-14T08:47:44.350" v="1697" actId="700"/>
          <ac:spMkLst>
            <pc:docMk/>
            <pc:sldMk cId="2148122546" sldId="2147481448"/>
            <ac:spMk id="3" creationId="{EC0CA584-DB14-8163-121F-5C6D2377804B}"/>
          </ac:spMkLst>
        </pc:spChg>
        <pc:spChg chg="mod ord">
          <ac:chgData name="Alexandra Diem" userId="c8039d65-2c3c-4c00-be8a-a6c2a8ef2749" providerId="ADAL" clId="{9EBDB409-8B15-ED4C-ACFC-6CCF3C19783E}" dt="2024-02-14T08:47:44.350" v="1697" actId="700"/>
          <ac:spMkLst>
            <pc:docMk/>
            <pc:sldMk cId="2148122546" sldId="2147481448"/>
            <ac:spMk id="4" creationId="{065FB3F2-705E-DE92-8CFA-71FF799EA982}"/>
          </ac:spMkLst>
        </pc:spChg>
        <pc:spChg chg="add del mod ord">
          <ac:chgData name="Alexandra Diem" userId="c8039d65-2c3c-4c00-be8a-a6c2a8ef2749" providerId="ADAL" clId="{9EBDB409-8B15-ED4C-ACFC-6CCF3C19783E}" dt="2024-02-14T08:21:55.319" v="902" actId="478"/>
          <ac:spMkLst>
            <pc:docMk/>
            <pc:sldMk cId="2148122546" sldId="2147481448"/>
            <ac:spMk id="5" creationId="{3A6677C4-FA2C-5E94-E45F-4A50C7E05DD3}"/>
          </ac:spMkLst>
        </pc:spChg>
        <pc:spChg chg="add del mod ord">
          <ac:chgData name="Alexandra Diem" userId="c8039d65-2c3c-4c00-be8a-a6c2a8ef2749" providerId="ADAL" clId="{9EBDB409-8B15-ED4C-ACFC-6CCF3C19783E}" dt="2024-02-14T08:32:57.160" v="1695" actId="478"/>
          <ac:spMkLst>
            <pc:docMk/>
            <pc:sldMk cId="2148122546" sldId="2147481448"/>
            <ac:spMk id="6" creationId="{B59FBAC4-9536-646C-46F6-6690E3653646}"/>
          </ac:spMkLst>
        </pc:spChg>
        <pc:spChg chg="add del mod ord">
          <ac:chgData name="Alexandra Diem" userId="c8039d65-2c3c-4c00-be8a-a6c2a8ef2749" providerId="ADAL" clId="{9EBDB409-8B15-ED4C-ACFC-6CCF3C19783E}" dt="2024-02-14T08:47:44.350" v="1697" actId="700"/>
          <ac:spMkLst>
            <pc:docMk/>
            <pc:sldMk cId="2148122546" sldId="2147481448"/>
            <ac:spMk id="7" creationId="{617E59FC-577B-C673-E7AE-487B6B930ACD}"/>
          </ac:spMkLst>
        </pc:spChg>
        <pc:spChg chg="add del mod ord">
          <ac:chgData name="Alexandra Diem" userId="c8039d65-2c3c-4c00-be8a-a6c2a8ef2749" providerId="ADAL" clId="{9EBDB409-8B15-ED4C-ACFC-6CCF3C19783E}" dt="2024-02-14T08:21:54.397" v="901" actId="478"/>
          <ac:spMkLst>
            <pc:docMk/>
            <pc:sldMk cId="2148122546" sldId="2147481448"/>
            <ac:spMk id="8" creationId="{B284676A-6D75-4EBA-FC1A-7F4458728451}"/>
          </ac:spMkLst>
        </pc:spChg>
        <pc:spChg chg="add mod ord">
          <ac:chgData name="Alexandra Diem" userId="c8039d65-2c3c-4c00-be8a-a6c2a8ef2749" providerId="ADAL" clId="{9EBDB409-8B15-ED4C-ACFC-6CCF3C19783E}" dt="2024-02-14T08:47:44.350" v="1697" actId="700"/>
          <ac:spMkLst>
            <pc:docMk/>
            <pc:sldMk cId="2148122546" sldId="2147481448"/>
            <ac:spMk id="9" creationId="{3B9584EA-2A45-E998-2CF1-93641EB2DF9C}"/>
          </ac:spMkLst>
        </pc:spChg>
        <pc:spChg chg="add mod ord">
          <ac:chgData name="Alexandra Diem" userId="c8039d65-2c3c-4c00-be8a-a6c2a8ef2749" providerId="ADAL" clId="{9EBDB409-8B15-ED4C-ACFC-6CCF3C19783E}" dt="2024-02-14T08:47:44.350" v="1697" actId="700"/>
          <ac:spMkLst>
            <pc:docMk/>
            <pc:sldMk cId="2148122546" sldId="2147481448"/>
            <ac:spMk id="10" creationId="{082049BD-7F16-121E-E5C9-DE9320A79DFE}"/>
          </ac:spMkLst>
        </pc:spChg>
        <pc:spChg chg="add del mod ord">
          <ac:chgData name="Alexandra Diem" userId="c8039d65-2c3c-4c00-be8a-a6c2a8ef2749" providerId="ADAL" clId="{9EBDB409-8B15-ED4C-ACFC-6CCF3C19783E}" dt="2024-02-14T08:47:44.350" v="1697" actId="700"/>
          <ac:spMkLst>
            <pc:docMk/>
            <pc:sldMk cId="2148122546" sldId="2147481448"/>
            <ac:spMk id="11" creationId="{674687F1-7D46-A81F-E1AA-A72B97CBDF9D}"/>
          </ac:spMkLst>
        </pc:spChg>
        <pc:spChg chg="add mod ord">
          <ac:chgData name="Alexandra Diem" userId="c8039d65-2c3c-4c00-be8a-a6c2a8ef2749" providerId="ADAL" clId="{9EBDB409-8B15-ED4C-ACFC-6CCF3C19783E}" dt="2024-02-14T08:47:44.350" v="1697" actId="700"/>
          <ac:spMkLst>
            <pc:docMk/>
            <pc:sldMk cId="2148122546" sldId="2147481448"/>
            <ac:spMk id="12" creationId="{063EFC21-B6C3-AB6C-DB32-D3EC5F8AD260}"/>
          </ac:spMkLst>
        </pc:spChg>
        <pc:spChg chg="add mod ord">
          <ac:chgData name="Alexandra Diem" userId="c8039d65-2c3c-4c00-be8a-a6c2a8ef2749" providerId="ADAL" clId="{9EBDB409-8B15-ED4C-ACFC-6CCF3C19783E}" dt="2024-02-14T12:04:14.064" v="1835" actId="20577"/>
          <ac:spMkLst>
            <pc:docMk/>
            <pc:sldMk cId="2148122546" sldId="2147481448"/>
            <ac:spMk id="13" creationId="{E923CE27-CE17-61B2-1744-43DAC3637C6A}"/>
          </ac:spMkLst>
        </pc:spChg>
        <pc:spChg chg="add mod ord">
          <ac:chgData name="Alexandra Diem" userId="c8039d65-2c3c-4c00-be8a-a6c2a8ef2749" providerId="ADAL" clId="{9EBDB409-8B15-ED4C-ACFC-6CCF3C19783E}" dt="2024-02-14T08:47:44.350" v="1697" actId="700"/>
          <ac:spMkLst>
            <pc:docMk/>
            <pc:sldMk cId="2148122546" sldId="2147481448"/>
            <ac:spMk id="14" creationId="{4CDB2FB0-B412-D90D-9632-579CB51F81F5}"/>
          </ac:spMkLst>
        </pc:spChg>
        <pc:spChg chg="add del mod ord">
          <ac:chgData name="Alexandra Diem" userId="c8039d65-2c3c-4c00-be8a-a6c2a8ef2749" providerId="ADAL" clId="{9EBDB409-8B15-ED4C-ACFC-6CCF3C19783E}" dt="2024-02-14T08:47:44.350" v="1697" actId="700"/>
          <ac:spMkLst>
            <pc:docMk/>
            <pc:sldMk cId="2148122546" sldId="2147481448"/>
            <ac:spMk id="17" creationId="{46F61BFB-325A-A42A-3E61-3A087AB7E8ED}"/>
          </ac:spMkLst>
        </pc:spChg>
        <pc:spChg chg="add del mod ord">
          <ac:chgData name="Alexandra Diem" userId="c8039d65-2c3c-4c00-be8a-a6c2a8ef2749" providerId="ADAL" clId="{9EBDB409-8B15-ED4C-ACFC-6CCF3C19783E}" dt="2024-02-14T08:47:44.350" v="1697" actId="700"/>
          <ac:spMkLst>
            <pc:docMk/>
            <pc:sldMk cId="2148122546" sldId="2147481448"/>
            <ac:spMk id="18" creationId="{134EC63D-1DCE-E713-A1F7-B3AA76FE897A}"/>
          </ac:spMkLst>
        </pc:spChg>
        <pc:spChg chg="add del mod ord">
          <ac:chgData name="Alexandra Diem" userId="c8039d65-2c3c-4c00-be8a-a6c2a8ef2749" providerId="ADAL" clId="{9EBDB409-8B15-ED4C-ACFC-6CCF3C19783E}" dt="2024-02-14T08:47:44.350" v="1697" actId="700"/>
          <ac:spMkLst>
            <pc:docMk/>
            <pc:sldMk cId="2148122546" sldId="2147481448"/>
            <ac:spMk id="19" creationId="{10122AAD-7207-49A5-AF49-D4B5D710D349}"/>
          </ac:spMkLst>
        </pc:spChg>
        <pc:spChg chg="add del mod ord">
          <ac:chgData name="Alexandra Diem" userId="c8039d65-2c3c-4c00-be8a-a6c2a8ef2749" providerId="ADAL" clId="{9EBDB409-8B15-ED4C-ACFC-6CCF3C19783E}" dt="2024-02-14T08:47:44.350" v="1697" actId="700"/>
          <ac:spMkLst>
            <pc:docMk/>
            <pc:sldMk cId="2148122546" sldId="2147481448"/>
            <ac:spMk id="20" creationId="{C420642C-A577-B912-B4D6-CFD695A945F3}"/>
          </ac:spMkLst>
        </pc:spChg>
        <pc:spChg chg="add del mod">
          <ac:chgData name="Alexandra Diem" userId="c8039d65-2c3c-4c00-be8a-a6c2a8ef2749" providerId="ADAL" clId="{9EBDB409-8B15-ED4C-ACFC-6CCF3C19783E}" dt="2024-02-14T08:48:29.946" v="1765" actId="478"/>
          <ac:spMkLst>
            <pc:docMk/>
            <pc:sldMk cId="2148122546" sldId="2147481448"/>
            <ac:spMk id="21" creationId="{36674BBA-F810-DAF8-92C7-D05D093C980A}"/>
          </ac:spMkLst>
        </pc:spChg>
        <pc:spChg chg="add mod">
          <ac:chgData name="Alexandra Diem" userId="c8039d65-2c3c-4c00-be8a-a6c2a8ef2749" providerId="ADAL" clId="{9EBDB409-8B15-ED4C-ACFC-6CCF3C19783E}" dt="2024-02-14T20:16:22.099" v="1842" actId="20577"/>
          <ac:spMkLst>
            <pc:docMk/>
            <pc:sldMk cId="2148122546" sldId="2147481448"/>
            <ac:spMk id="22" creationId="{92E10698-2EA7-A2E7-82B2-2AE23F790BAF}"/>
          </ac:spMkLst>
        </pc:spChg>
        <pc:picChg chg="add mod">
          <ac:chgData name="Alexandra Diem" userId="c8039d65-2c3c-4c00-be8a-a6c2a8ef2749" providerId="ADAL" clId="{9EBDB409-8B15-ED4C-ACFC-6CCF3C19783E}" dt="2024-02-14T08:26:31.813" v="941" actId="14100"/>
          <ac:picMkLst>
            <pc:docMk/>
            <pc:sldMk cId="2148122546" sldId="2147481448"/>
            <ac:picMk id="15" creationId="{D9BF03C2-ABA3-B783-F63B-71EC792C7B0C}"/>
          </ac:picMkLst>
        </pc:picChg>
        <pc:picChg chg="add del mod ord">
          <ac:chgData name="Alexandra Diem" userId="c8039d65-2c3c-4c00-be8a-a6c2a8ef2749" providerId="ADAL" clId="{9EBDB409-8B15-ED4C-ACFC-6CCF3C19783E}" dt="2024-02-14T08:27:59.421" v="1123" actId="34307"/>
          <ac:picMkLst>
            <pc:docMk/>
            <pc:sldMk cId="2148122546" sldId="2147481448"/>
            <ac:picMk id="16" creationId="{AE1F7306-D4BA-6AB9-8D44-93DD9C6689E2}"/>
          </ac:picMkLst>
        </pc:picChg>
      </pc:sldChg>
      <pc:sldChg chg="addSp delSp modSp add mod">
        <pc:chgData name="Alexandra Diem" userId="c8039d65-2c3c-4c00-be8a-a6c2a8ef2749" providerId="ADAL" clId="{9EBDB409-8B15-ED4C-ACFC-6CCF3C19783E}" dt="2024-02-14T20:18:59.692" v="1905" actId="313"/>
        <pc:sldMkLst>
          <pc:docMk/>
          <pc:sldMk cId="3231785100" sldId="2147481449"/>
        </pc:sldMkLst>
        <pc:spChg chg="mod">
          <ac:chgData name="Alexandra Diem" userId="c8039d65-2c3c-4c00-be8a-a6c2a8ef2749" providerId="ADAL" clId="{9EBDB409-8B15-ED4C-ACFC-6CCF3C19783E}" dt="2024-02-14T20:18:59.692" v="1905" actId="313"/>
          <ac:spMkLst>
            <pc:docMk/>
            <pc:sldMk cId="3231785100" sldId="2147481449"/>
            <ac:spMk id="2" creationId="{DE755596-2EF0-2123-C052-8906F4433666}"/>
          </ac:spMkLst>
        </pc:spChg>
        <pc:spChg chg="add del mod">
          <ac:chgData name="Alexandra Diem" userId="c8039d65-2c3c-4c00-be8a-a6c2a8ef2749" providerId="ADAL" clId="{9EBDB409-8B15-ED4C-ACFC-6CCF3C19783E}" dt="2024-02-14T20:18:44.420" v="1861" actId="478"/>
          <ac:spMkLst>
            <pc:docMk/>
            <pc:sldMk cId="3231785100" sldId="2147481449"/>
            <ac:spMk id="4" creationId="{453E08C6-FF4C-E847-B9B0-594DF3D3E513}"/>
          </ac:spMkLst>
        </pc:spChg>
        <pc:picChg chg="add mod">
          <ac:chgData name="Alexandra Diem" userId="c8039d65-2c3c-4c00-be8a-a6c2a8ef2749" providerId="ADAL" clId="{9EBDB409-8B15-ED4C-ACFC-6CCF3C19783E}" dt="2024-02-14T20:18:48.491" v="1863" actId="1076"/>
          <ac:picMkLst>
            <pc:docMk/>
            <pc:sldMk cId="3231785100" sldId="2147481449"/>
            <ac:picMk id="5" creationId="{D1E8EC05-B23C-F1B3-E213-EA3BE33E04EA}"/>
          </ac:picMkLst>
        </pc:picChg>
        <pc:picChg chg="del">
          <ac:chgData name="Alexandra Diem" userId="c8039d65-2c3c-4c00-be8a-a6c2a8ef2749" providerId="ADAL" clId="{9EBDB409-8B15-ED4C-ACFC-6CCF3C19783E}" dt="2024-02-14T20:18:16.335" v="1849" actId="478"/>
          <ac:picMkLst>
            <pc:docMk/>
            <pc:sldMk cId="3231785100" sldId="2147481449"/>
            <ac:picMk id="13" creationId="{FE507039-9049-94C9-C453-F6F9260D67CA}"/>
          </ac:picMkLst>
        </pc:pic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9D99982-3E15-4F3F-83CD-5904335AD620}" type="doc">
      <dgm:prSet loTypeId="urn:microsoft.com/office/officeart/2005/8/layout/hProcess11" loCatId="process" qsTypeId="urn:microsoft.com/office/officeart/2005/8/quickstyle/simple1" qsCatId="simple" csTypeId="urn:microsoft.com/office/officeart/2005/8/colors/accent5_2" csCatId="accent5" phldr="1"/>
      <dgm:spPr/>
    </dgm:pt>
    <dgm:pt modelId="{1C30BF2A-900A-45BF-8994-D872E3244294}">
      <dgm:prSet phldrT="[Tekst]"/>
      <dgm:spPr/>
      <dgm:t>
        <a:bodyPr/>
        <a:lstStyle/>
        <a:p>
          <a:r>
            <a:rPr lang="nb-NO" dirty="0"/>
            <a:t>Ide</a:t>
          </a:r>
        </a:p>
      </dgm:t>
    </dgm:pt>
    <dgm:pt modelId="{1ADF15DD-79FF-4266-AFA1-00CC9CCFC514}" type="parTrans" cxnId="{F83C9634-6B22-40B1-95EF-3BF415B3A73B}">
      <dgm:prSet/>
      <dgm:spPr/>
      <dgm:t>
        <a:bodyPr/>
        <a:lstStyle/>
        <a:p>
          <a:endParaRPr lang="nb-NO"/>
        </a:p>
      </dgm:t>
    </dgm:pt>
    <dgm:pt modelId="{F61726CE-050F-437F-BED8-001FDB6FB256}" type="sibTrans" cxnId="{F83C9634-6B22-40B1-95EF-3BF415B3A73B}">
      <dgm:prSet/>
      <dgm:spPr/>
      <dgm:t>
        <a:bodyPr/>
        <a:lstStyle/>
        <a:p>
          <a:endParaRPr lang="nb-NO"/>
        </a:p>
      </dgm:t>
    </dgm:pt>
    <dgm:pt modelId="{C5B06207-AA36-4A0E-9649-824B2CC699D8}">
      <dgm:prSet phldrT="[Tekst]"/>
      <dgm:spPr/>
      <dgm:t>
        <a:bodyPr/>
        <a:lstStyle/>
        <a:p>
          <a:pPr>
            <a:buClrTx/>
            <a:buSzTx/>
            <a:buFontTx/>
            <a:buNone/>
          </a:pPr>
          <a:r>
            <a:rPr lang="en-US" i="0" dirty="0" err="1"/>
            <a:t>Utviklings</a:t>
          </a:r>
          <a:r>
            <a:rPr lang="en-US" i="0" dirty="0"/>
            <a:t>- team samlet</a:t>
          </a:r>
          <a:endParaRPr lang="nb-NO" dirty="0"/>
        </a:p>
      </dgm:t>
    </dgm:pt>
    <dgm:pt modelId="{90CF66F2-BF76-4A9D-9F06-5392CAC5EE8A}" type="parTrans" cxnId="{FD089043-4E15-41EA-943A-F19F9A4BDA2E}">
      <dgm:prSet/>
      <dgm:spPr/>
      <dgm:t>
        <a:bodyPr/>
        <a:lstStyle/>
        <a:p>
          <a:endParaRPr lang="nb-NO"/>
        </a:p>
      </dgm:t>
    </dgm:pt>
    <dgm:pt modelId="{7E7D84AC-38C5-4CCA-9F91-4B5B396B45C1}" type="sibTrans" cxnId="{FD089043-4E15-41EA-943A-F19F9A4BDA2E}">
      <dgm:prSet/>
      <dgm:spPr/>
      <dgm:t>
        <a:bodyPr/>
        <a:lstStyle/>
        <a:p>
          <a:endParaRPr lang="nb-NO"/>
        </a:p>
      </dgm:t>
    </dgm:pt>
    <dgm:pt modelId="{DD9A80CF-AA41-43BB-AFA8-BE9697FE40E5}">
      <dgm:prSet phldrT="[Tekst]"/>
      <dgm:spPr/>
      <dgm:t>
        <a:bodyPr/>
        <a:lstStyle/>
        <a:p>
          <a:pPr>
            <a:buClrTx/>
            <a:buSzTx/>
            <a:buFontTx/>
            <a:buNone/>
          </a:pPr>
          <a:r>
            <a:rPr lang="en-US" i="0" dirty="0" err="1"/>
            <a:t>Presentert</a:t>
          </a:r>
          <a:r>
            <a:rPr lang="en-US" i="0" dirty="0"/>
            <a:t> </a:t>
          </a:r>
          <a:r>
            <a:rPr lang="en-US" i="0" dirty="0" err="1"/>
            <a:t>konsept</a:t>
          </a:r>
          <a:r>
            <a:rPr lang="en-US" i="0" dirty="0"/>
            <a:t> </a:t>
          </a:r>
          <a:r>
            <a:rPr lang="en-US" i="0" dirty="0" err="1"/>
            <a:t>til</a:t>
          </a:r>
          <a:r>
            <a:rPr lang="en-US" i="0" dirty="0"/>
            <a:t> </a:t>
          </a:r>
          <a:r>
            <a:rPr lang="en-US" i="0" dirty="0" err="1"/>
            <a:t>divisjonens</a:t>
          </a:r>
          <a:r>
            <a:rPr lang="en-US" i="0" dirty="0"/>
            <a:t> </a:t>
          </a:r>
          <a:r>
            <a:rPr lang="en-US" i="0" dirty="0" err="1"/>
            <a:t>ledergruppe</a:t>
          </a:r>
          <a:endParaRPr lang="nb-NO" dirty="0"/>
        </a:p>
      </dgm:t>
    </dgm:pt>
    <dgm:pt modelId="{D2E2DDD8-AE71-47B1-B2B0-881213A9999E}" type="parTrans" cxnId="{E31889E5-BBFD-43F8-9B3E-D43116F71F31}">
      <dgm:prSet/>
      <dgm:spPr/>
      <dgm:t>
        <a:bodyPr/>
        <a:lstStyle/>
        <a:p>
          <a:endParaRPr lang="nb-NO"/>
        </a:p>
      </dgm:t>
    </dgm:pt>
    <dgm:pt modelId="{9FD25859-621D-4234-B89A-BD74C0EBA1BB}" type="sibTrans" cxnId="{E31889E5-BBFD-43F8-9B3E-D43116F71F31}">
      <dgm:prSet/>
      <dgm:spPr/>
      <dgm:t>
        <a:bodyPr/>
        <a:lstStyle/>
        <a:p>
          <a:endParaRPr lang="nb-NO"/>
        </a:p>
      </dgm:t>
    </dgm:pt>
    <dgm:pt modelId="{F62606A5-F2E5-4D85-AD82-1F179A1DBDF7}">
      <dgm:prSet phldrT="[Tekst]"/>
      <dgm:spPr/>
      <dgm:t>
        <a:bodyPr/>
        <a:lstStyle/>
        <a:p>
          <a:pPr>
            <a:buClrTx/>
            <a:buSzTx/>
            <a:buFontTx/>
            <a:buNone/>
          </a:pPr>
          <a:r>
            <a:rPr lang="nb-NO"/>
            <a:t>Sprint</a:t>
          </a:r>
        </a:p>
      </dgm:t>
    </dgm:pt>
    <dgm:pt modelId="{0989A2B5-1F30-4DEC-9969-6147C1AFABE4}" type="parTrans" cxnId="{716B61B8-786F-4478-BD75-52E823A9D547}">
      <dgm:prSet/>
      <dgm:spPr/>
      <dgm:t>
        <a:bodyPr/>
        <a:lstStyle/>
        <a:p>
          <a:endParaRPr lang="nb-NO"/>
        </a:p>
      </dgm:t>
    </dgm:pt>
    <dgm:pt modelId="{83F2D9CA-3377-4E90-A209-5F11D044C4F6}" type="sibTrans" cxnId="{716B61B8-786F-4478-BD75-52E823A9D547}">
      <dgm:prSet/>
      <dgm:spPr/>
      <dgm:t>
        <a:bodyPr/>
        <a:lstStyle/>
        <a:p>
          <a:endParaRPr lang="nb-NO"/>
        </a:p>
      </dgm:t>
    </dgm:pt>
    <dgm:pt modelId="{7001D224-32A9-4ABE-919A-51804EAC7BEA}">
      <dgm:prSet phldrT="[Tekst]"/>
      <dgm:spPr/>
      <dgm:t>
        <a:bodyPr/>
        <a:lstStyle/>
        <a:p>
          <a:pPr>
            <a:buClrTx/>
            <a:buSzTx/>
            <a:buFontTx/>
            <a:buNone/>
          </a:pPr>
          <a:r>
            <a:rPr lang="nb-NO" dirty="0"/>
            <a:t>MVP</a:t>
          </a:r>
        </a:p>
        <a:p>
          <a:pPr>
            <a:buClrTx/>
            <a:buSzTx/>
            <a:buFontTx/>
            <a:buNone/>
          </a:pPr>
          <a:r>
            <a:rPr lang="nb-NO" dirty="0"/>
            <a:t>Demo</a:t>
          </a:r>
        </a:p>
      </dgm:t>
    </dgm:pt>
    <dgm:pt modelId="{F2683314-D41B-4700-BB6E-BA7BFC339C37}" type="parTrans" cxnId="{D9388915-63E1-46A1-9CCF-31167C013CEB}">
      <dgm:prSet/>
      <dgm:spPr/>
      <dgm:t>
        <a:bodyPr/>
        <a:lstStyle/>
        <a:p>
          <a:endParaRPr lang="nb-NO"/>
        </a:p>
      </dgm:t>
    </dgm:pt>
    <dgm:pt modelId="{89F2214A-F84D-432C-9299-44C985482A86}" type="sibTrans" cxnId="{D9388915-63E1-46A1-9CCF-31167C013CEB}">
      <dgm:prSet/>
      <dgm:spPr/>
      <dgm:t>
        <a:bodyPr/>
        <a:lstStyle/>
        <a:p>
          <a:endParaRPr lang="nb-NO"/>
        </a:p>
      </dgm:t>
    </dgm:pt>
    <dgm:pt modelId="{F2658445-3DCD-4C12-B7E9-179CEB9FA88A}">
      <dgm:prSet phldrT="[Tekst]"/>
      <dgm:spPr/>
      <dgm:t>
        <a:bodyPr/>
        <a:lstStyle/>
        <a:p>
          <a:r>
            <a:rPr lang="nb-NO" dirty="0">
              <a:latin typeface="+mn-lt"/>
            </a:rPr>
            <a:t>Finansering sikret</a:t>
          </a:r>
          <a:endParaRPr lang="nb-NO" dirty="0"/>
        </a:p>
      </dgm:t>
    </dgm:pt>
    <dgm:pt modelId="{C50D879D-A6A8-446B-B56B-7A32F3AC8E3D}" type="parTrans" cxnId="{EDBDFC77-0B1E-488B-85C7-00E3FB394240}">
      <dgm:prSet/>
      <dgm:spPr/>
      <dgm:t>
        <a:bodyPr/>
        <a:lstStyle/>
        <a:p>
          <a:endParaRPr lang="nb-NO"/>
        </a:p>
      </dgm:t>
    </dgm:pt>
    <dgm:pt modelId="{2456A3FF-1BFD-414D-BA4E-B7059877A37A}" type="sibTrans" cxnId="{EDBDFC77-0B1E-488B-85C7-00E3FB394240}">
      <dgm:prSet/>
      <dgm:spPr/>
      <dgm:t>
        <a:bodyPr/>
        <a:lstStyle/>
        <a:p>
          <a:endParaRPr lang="nb-NO"/>
        </a:p>
      </dgm:t>
    </dgm:pt>
    <dgm:pt modelId="{5C17B272-C228-4B44-8EB8-972B22F22B45}" type="pres">
      <dgm:prSet presAssocID="{69D99982-3E15-4F3F-83CD-5904335AD620}" presName="Name0" presStyleCnt="0">
        <dgm:presLayoutVars>
          <dgm:dir/>
          <dgm:resizeHandles val="exact"/>
        </dgm:presLayoutVars>
      </dgm:prSet>
      <dgm:spPr/>
    </dgm:pt>
    <dgm:pt modelId="{5F2E6E73-64A4-49C4-B247-1BA99E0932EC}" type="pres">
      <dgm:prSet presAssocID="{69D99982-3E15-4F3F-83CD-5904335AD620}" presName="arrow" presStyleLbl="bgShp" presStyleIdx="0" presStyleCnt="1"/>
      <dgm:spPr/>
    </dgm:pt>
    <dgm:pt modelId="{C1E04E9D-66F3-4700-9522-C30C5A21C156}" type="pres">
      <dgm:prSet presAssocID="{69D99982-3E15-4F3F-83CD-5904335AD620}" presName="points" presStyleCnt="0"/>
      <dgm:spPr/>
    </dgm:pt>
    <dgm:pt modelId="{E95348E7-3509-416F-B5F5-4E93C5C82DBA}" type="pres">
      <dgm:prSet presAssocID="{1C30BF2A-900A-45BF-8994-D872E3244294}" presName="compositeA" presStyleCnt="0"/>
      <dgm:spPr/>
    </dgm:pt>
    <dgm:pt modelId="{5452451D-078C-4622-A68E-4B02E5B700CE}" type="pres">
      <dgm:prSet presAssocID="{1C30BF2A-900A-45BF-8994-D872E3244294}" presName="textA" presStyleLbl="revTx" presStyleIdx="0" presStyleCnt="6">
        <dgm:presLayoutVars>
          <dgm:bulletEnabled val="1"/>
        </dgm:presLayoutVars>
      </dgm:prSet>
      <dgm:spPr/>
    </dgm:pt>
    <dgm:pt modelId="{173BABF6-0595-4679-AF5A-3FE95CA16375}" type="pres">
      <dgm:prSet presAssocID="{1C30BF2A-900A-45BF-8994-D872E3244294}" presName="circleA" presStyleLbl="node1" presStyleIdx="0" presStyleCnt="6"/>
      <dgm:spPr>
        <a:ln>
          <a:solidFill>
            <a:schemeClr val="accent5"/>
          </a:solidFill>
        </a:ln>
      </dgm:spPr>
    </dgm:pt>
    <dgm:pt modelId="{D6BCBB36-2B0D-45B3-B624-6A9304B29A74}" type="pres">
      <dgm:prSet presAssocID="{1C30BF2A-900A-45BF-8994-D872E3244294}" presName="spaceA" presStyleCnt="0"/>
      <dgm:spPr/>
    </dgm:pt>
    <dgm:pt modelId="{D5DF83CA-4085-47D4-B0F1-1530CD6B8D9A}" type="pres">
      <dgm:prSet presAssocID="{F61726CE-050F-437F-BED8-001FDB6FB256}" presName="space" presStyleCnt="0"/>
      <dgm:spPr/>
    </dgm:pt>
    <dgm:pt modelId="{BC28ECB3-249B-4C81-B419-9DD9A6432010}" type="pres">
      <dgm:prSet presAssocID="{F2658445-3DCD-4C12-B7E9-179CEB9FA88A}" presName="compositeB" presStyleCnt="0"/>
      <dgm:spPr/>
    </dgm:pt>
    <dgm:pt modelId="{740256C5-980F-411F-B090-C5F80D866635}" type="pres">
      <dgm:prSet presAssocID="{F2658445-3DCD-4C12-B7E9-179CEB9FA88A}" presName="textB" presStyleLbl="revTx" presStyleIdx="1" presStyleCnt="6">
        <dgm:presLayoutVars>
          <dgm:bulletEnabled val="1"/>
        </dgm:presLayoutVars>
      </dgm:prSet>
      <dgm:spPr/>
    </dgm:pt>
    <dgm:pt modelId="{AE91A418-CAA6-4D68-B4CF-DB9238D05886}" type="pres">
      <dgm:prSet presAssocID="{F2658445-3DCD-4C12-B7E9-179CEB9FA88A}" presName="circleB" presStyleLbl="node1" presStyleIdx="1" presStyleCnt="6"/>
      <dgm:spPr/>
    </dgm:pt>
    <dgm:pt modelId="{B1C34FAD-05F1-4AFD-8BF6-A618E88FDDAC}" type="pres">
      <dgm:prSet presAssocID="{F2658445-3DCD-4C12-B7E9-179CEB9FA88A}" presName="spaceB" presStyleCnt="0"/>
      <dgm:spPr/>
    </dgm:pt>
    <dgm:pt modelId="{6F7444A8-75B7-4F7C-A1C0-F8175B4101B5}" type="pres">
      <dgm:prSet presAssocID="{2456A3FF-1BFD-414D-BA4E-B7059877A37A}" presName="space" presStyleCnt="0"/>
      <dgm:spPr/>
    </dgm:pt>
    <dgm:pt modelId="{26501F8F-B3C8-4A4D-B920-1AC135EA2501}" type="pres">
      <dgm:prSet presAssocID="{C5B06207-AA36-4A0E-9649-824B2CC699D8}" presName="compositeA" presStyleCnt="0"/>
      <dgm:spPr/>
    </dgm:pt>
    <dgm:pt modelId="{2027F1B0-4AAF-405D-B763-7D33A0A90757}" type="pres">
      <dgm:prSet presAssocID="{C5B06207-AA36-4A0E-9649-824B2CC699D8}" presName="textA" presStyleLbl="revTx" presStyleIdx="2" presStyleCnt="6">
        <dgm:presLayoutVars>
          <dgm:bulletEnabled val="1"/>
        </dgm:presLayoutVars>
      </dgm:prSet>
      <dgm:spPr/>
    </dgm:pt>
    <dgm:pt modelId="{F457BBA2-0358-4929-AA5A-7F7700A31C2C}" type="pres">
      <dgm:prSet presAssocID="{C5B06207-AA36-4A0E-9649-824B2CC699D8}" presName="circleA" presStyleLbl="node1" presStyleIdx="2" presStyleCnt="6"/>
      <dgm:spPr/>
    </dgm:pt>
    <dgm:pt modelId="{D53C508C-FC27-43D8-B650-8AECD89B7DA4}" type="pres">
      <dgm:prSet presAssocID="{C5B06207-AA36-4A0E-9649-824B2CC699D8}" presName="spaceA" presStyleCnt="0"/>
      <dgm:spPr/>
    </dgm:pt>
    <dgm:pt modelId="{C4B8B35C-C2BA-4925-8AE2-B80C4CBC968F}" type="pres">
      <dgm:prSet presAssocID="{7E7D84AC-38C5-4CCA-9F91-4B5B396B45C1}" presName="space" presStyleCnt="0"/>
      <dgm:spPr/>
    </dgm:pt>
    <dgm:pt modelId="{EC5EC655-33D4-4392-A7D7-9C2B71A30E83}" type="pres">
      <dgm:prSet presAssocID="{DD9A80CF-AA41-43BB-AFA8-BE9697FE40E5}" presName="compositeB" presStyleCnt="0"/>
      <dgm:spPr/>
    </dgm:pt>
    <dgm:pt modelId="{E23C771F-1510-4250-9327-AAC9E90F67A4}" type="pres">
      <dgm:prSet presAssocID="{DD9A80CF-AA41-43BB-AFA8-BE9697FE40E5}" presName="textB" presStyleLbl="revTx" presStyleIdx="3" presStyleCnt="6">
        <dgm:presLayoutVars>
          <dgm:bulletEnabled val="1"/>
        </dgm:presLayoutVars>
      </dgm:prSet>
      <dgm:spPr/>
    </dgm:pt>
    <dgm:pt modelId="{3654EF6E-3A9F-42E8-9400-1F2835807B9F}" type="pres">
      <dgm:prSet presAssocID="{DD9A80CF-AA41-43BB-AFA8-BE9697FE40E5}" presName="circleB" presStyleLbl="node1" presStyleIdx="3" presStyleCnt="6"/>
      <dgm:spPr/>
    </dgm:pt>
    <dgm:pt modelId="{5280F9B1-E840-413C-8921-2F4BFA2C426D}" type="pres">
      <dgm:prSet presAssocID="{DD9A80CF-AA41-43BB-AFA8-BE9697FE40E5}" presName="spaceB" presStyleCnt="0"/>
      <dgm:spPr/>
    </dgm:pt>
    <dgm:pt modelId="{477212F3-F132-46CA-ACDE-80659244704D}" type="pres">
      <dgm:prSet presAssocID="{9FD25859-621D-4234-B89A-BD74C0EBA1BB}" presName="space" presStyleCnt="0"/>
      <dgm:spPr/>
    </dgm:pt>
    <dgm:pt modelId="{A383CFAC-F7A8-1A4F-80D5-C5E04EFD920C}" type="pres">
      <dgm:prSet presAssocID="{F62606A5-F2E5-4D85-AD82-1F179A1DBDF7}" presName="compositeA" presStyleCnt="0"/>
      <dgm:spPr/>
    </dgm:pt>
    <dgm:pt modelId="{ED10F3A6-9408-0541-80A0-CD54413C44D5}" type="pres">
      <dgm:prSet presAssocID="{F62606A5-F2E5-4D85-AD82-1F179A1DBDF7}" presName="textA" presStyleLbl="revTx" presStyleIdx="4" presStyleCnt="6">
        <dgm:presLayoutVars>
          <dgm:bulletEnabled val="1"/>
        </dgm:presLayoutVars>
      </dgm:prSet>
      <dgm:spPr/>
    </dgm:pt>
    <dgm:pt modelId="{7CAFB553-6376-AE4C-B6D2-C17A8907DA9D}" type="pres">
      <dgm:prSet presAssocID="{F62606A5-F2E5-4D85-AD82-1F179A1DBDF7}" presName="circleA" presStyleLbl="node1" presStyleIdx="4" presStyleCnt="6"/>
      <dgm:spPr/>
    </dgm:pt>
    <dgm:pt modelId="{61D35B48-1362-2A45-9956-24187383CD83}" type="pres">
      <dgm:prSet presAssocID="{F62606A5-F2E5-4D85-AD82-1F179A1DBDF7}" presName="spaceA" presStyleCnt="0"/>
      <dgm:spPr/>
    </dgm:pt>
    <dgm:pt modelId="{C61A1D32-5F68-4CE3-9648-88BE07F64354}" type="pres">
      <dgm:prSet presAssocID="{83F2D9CA-3377-4E90-A209-5F11D044C4F6}" presName="space" presStyleCnt="0"/>
      <dgm:spPr/>
    </dgm:pt>
    <dgm:pt modelId="{420E2590-7CE9-0744-8C8E-AA643DE77F1C}" type="pres">
      <dgm:prSet presAssocID="{7001D224-32A9-4ABE-919A-51804EAC7BEA}" presName="compositeB" presStyleCnt="0"/>
      <dgm:spPr/>
    </dgm:pt>
    <dgm:pt modelId="{7ADE62F8-115D-B240-BB39-75E81BB49C36}" type="pres">
      <dgm:prSet presAssocID="{7001D224-32A9-4ABE-919A-51804EAC7BEA}" presName="textB" presStyleLbl="revTx" presStyleIdx="5" presStyleCnt="6">
        <dgm:presLayoutVars>
          <dgm:bulletEnabled val="1"/>
        </dgm:presLayoutVars>
      </dgm:prSet>
      <dgm:spPr/>
    </dgm:pt>
    <dgm:pt modelId="{B32B3247-78C4-944A-83DD-59E085022583}" type="pres">
      <dgm:prSet presAssocID="{7001D224-32A9-4ABE-919A-51804EAC7BEA}" presName="circleB" presStyleLbl="node1" presStyleIdx="5" presStyleCnt="6"/>
      <dgm:spPr/>
    </dgm:pt>
    <dgm:pt modelId="{F3DCDF32-666E-4E4E-BF3F-0C346AE62732}" type="pres">
      <dgm:prSet presAssocID="{7001D224-32A9-4ABE-919A-51804EAC7BEA}" presName="spaceB" presStyleCnt="0"/>
      <dgm:spPr/>
    </dgm:pt>
  </dgm:ptLst>
  <dgm:cxnLst>
    <dgm:cxn modelId="{D9388915-63E1-46A1-9CCF-31167C013CEB}" srcId="{69D99982-3E15-4F3F-83CD-5904335AD620}" destId="{7001D224-32A9-4ABE-919A-51804EAC7BEA}" srcOrd="5" destOrd="0" parTransId="{F2683314-D41B-4700-BB6E-BA7BFC339C37}" sibTransId="{89F2214A-F84D-432C-9299-44C985482A86}"/>
    <dgm:cxn modelId="{8C2A4719-6996-4767-A007-7272B41860D6}" type="presOf" srcId="{C5B06207-AA36-4A0E-9649-824B2CC699D8}" destId="{2027F1B0-4AAF-405D-B763-7D33A0A90757}" srcOrd="0" destOrd="0" presId="urn:microsoft.com/office/officeart/2005/8/layout/hProcess11"/>
    <dgm:cxn modelId="{F83C9634-6B22-40B1-95EF-3BF415B3A73B}" srcId="{69D99982-3E15-4F3F-83CD-5904335AD620}" destId="{1C30BF2A-900A-45BF-8994-D872E3244294}" srcOrd="0" destOrd="0" parTransId="{1ADF15DD-79FF-4266-AFA1-00CC9CCFC514}" sibTransId="{F61726CE-050F-437F-BED8-001FDB6FB256}"/>
    <dgm:cxn modelId="{FF69CC42-339D-421F-8A54-89DB9925A3D2}" type="presOf" srcId="{F2658445-3DCD-4C12-B7E9-179CEB9FA88A}" destId="{740256C5-980F-411F-B090-C5F80D866635}" srcOrd="0" destOrd="0" presId="urn:microsoft.com/office/officeart/2005/8/layout/hProcess11"/>
    <dgm:cxn modelId="{FD089043-4E15-41EA-943A-F19F9A4BDA2E}" srcId="{69D99982-3E15-4F3F-83CD-5904335AD620}" destId="{C5B06207-AA36-4A0E-9649-824B2CC699D8}" srcOrd="2" destOrd="0" parTransId="{90CF66F2-BF76-4A9D-9F06-5392CAC5EE8A}" sibTransId="{7E7D84AC-38C5-4CCA-9F91-4B5B396B45C1}"/>
    <dgm:cxn modelId="{57A20262-0D48-44EC-907A-C73F46097ACA}" type="presOf" srcId="{1C30BF2A-900A-45BF-8994-D872E3244294}" destId="{5452451D-078C-4622-A68E-4B02E5B700CE}" srcOrd="0" destOrd="0" presId="urn:microsoft.com/office/officeart/2005/8/layout/hProcess11"/>
    <dgm:cxn modelId="{D503376F-FE37-E447-B0CC-A33DEE128FA4}" type="presOf" srcId="{7001D224-32A9-4ABE-919A-51804EAC7BEA}" destId="{7ADE62F8-115D-B240-BB39-75E81BB49C36}" srcOrd="0" destOrd="0" presId="urn:microsoft.com/office/officeart/2005/8/layout/hProcess11"/>
    <dgm:cxn modelId="{B3F29D73-6960-4B39-A13B-6ADAC4C26876}" type="presOf" srcId="{DD9A80CF-AA41-43BB-AFA8-BE9697FE40E5}" destId="{E23C771F-1510-4250-9327-AAC9E90F67A4}" srcOrd="0" destOrd="0" presId="urn:microsoft.com/office/officeart/2005/8/layout/hProcess11"/>
    <dgm:cxn modelId="{EDBDFC77-0B1E-488B-85C7-00E3FB394240}" srcId="{69D99982-3E15-4F3F-83CD-5904335AD620}" destId="{F2658445-3DCD-4C12-B7E9-179CEB9FA88A}" srcOrd="1" destOrd="0" parTransId="{C50D879D-A6A8-446B-B56B-7A32F3AC8E3D}" sibTransId="{2456A3FF-1BFD-414D-BA4E-B7059877A37A}"/>
    <dgm:cxn modelId="{28E900B4-31CB-2541-A2DB-1C41ABED550B}" type="presOf" srcId="{F62606A5-F2E5-4D85-AD82-1F179A1DBDF7}" destId="{ED10F3A6-9408-0541-80A0-CD54413C44D5}" srcOrd="0" destOrd="0" presId="urn:microsoft.com/office/officeart/2005/8/layout/hProcess11"/>
    <dgm:cxn modelId="{716B61B8-786F-4478-BD75-52E823A9D547}" srcId="{69D99982-3E15-4F3F-83CD-5904335AD620}" destId="{F62606A5-F2E5-4D85-AD82-1F179A1DBDF7}" srcOrd="4" destOrd="0" parTransId="{0989A2B5-1F30-4DEC-9969-6147C1AFABE4}" sibTransId="{83F2D9CA-3377-4E90-A209-5F11D044C4F6}"/>
    <dgm:cxn modelId="{E31889E5-BBFD-43F8-9B3E-D43116F71F31}" srcId="{69D99982-3E15-4F3F-83CD-5904335AD620}" destId="{DD9A80CF-AA41-43BB-AFA8-BE9697FE40E5}" srcOrd="3" destOrd="0" parTransId="{D2E2DDD8-AE71-47B1-B2B0-881213A9999E}" sibTransId="{9FD25859-621D-4234-B89A-BD74C0EBA1BB}"/>
    <dgm:cxn modelId="{A0C076F2-7651-4F2E-8AD7-FFA790823FB5}" type="presOf" srcId="{69D99982-3E15-4F3F-83CD-5904335AD620}" destId="{5C17B272-C228-4B44-8EB8-972B22F22B45}" srcOrd="0" destOrd="0" presId="urn:microsoft.com/office/officeart/2005/8/layout/hProcess11"/>
    <dgm:cxn modelId="{95C24983-A6FF-411C-A4CE-13905B28E2F4}" type="presParOf" srcId="{5C17B272-C228-4B44-8EB8-972B22F22B45}" destId="{5F2E6E73-64A4-49C4-B247-1BA99E0932EC}" srcOrd="0" destOrd="0" presId="urn:microsoft.com/office/officeart/2005/8/layout/hProcess11"/>
    <dgm:cxn modelId="{0B5DF1AD-EA6B-405E-B7EE-649C31133E8C}" type="presParOf" srcId="{5C17B272-C228-4B44-8EB8-972B22F22B45}" destId="{C1E04E9D-66F3-4700-9522-C30C5A21C156}" srcOrd="1" destOrd="0" presId="urn:microsoft.com/office/officeart/2005/8/layout/hProcess11"/>
    <dgm:cxn modelId="{9873FF14-F869-44DE-B508-940B6A3D20D0}" type="presParOf" srcId="{C1E04E9D-66F3-4700-9522-C30C5A21C156}" destId="{E95348E7-3509-416F-B5F5-4E93C5C82DBA}" srcOrd="0" destOrd="0" presId="urn:microsoft.com/office/officeart/2005/8/layout/hProcess11"/>
    <dgm:cxn modelId="{C861E574-AF78-437D-AD62-5915CCA17F06}" type="presParOf" srcId="{E95348E7-3509-416F-B5F5-4E93C5C82DBA}" destId="{5452451D-078C-4622-A68E-4B02E5B700CE}" srcOrd="0" destOrd="0" presId="urn:microsoft.com/office/officeart/2005/8/layout/hProcess11"/>
    <dgm:cxn modelId="{ABC3FE41-2316-4672-8E86-7FEB9133D6BF}" type="presParOf" srcId="{E95348E7-3509-416F-B5F5-4E93C5C82DBA}" destId="{173BABF6-0595-4679-AF5A-3FE95CA16375}" srcOrd="1" destOrd="0" presId="urn:microsoft.com/office/officeart/2005/8/layout/hProcess11"/>
    <dgm:cxn modelId="{76EE3E78-E7EE-4148-B971-84ED250AF51C}" type="presParOf" srcId="{E95348E7-3509-416F-B5F5-4E93C5C82DBA}" destId="{D6BCBB36-2B0D-45B3-B624-6A9304B29A74}" srcOrd="2" destOrd="0" presId="urn:microsoft.com/office/officeart/2005/8/layout/hProcess11"/>
    <dgm:cxn modelId="{3C7F67EB-4D58-41EC-BA4E-6363C1AF4ED2}" type="presParOf" srcId="{C1E04E9D-66F3-4700-9522-C30C5A21C156}" destId="{D5DF83CA-4085-47D4-B0F1-1530CD6B8D9A}" srcOrd="1" destOrd="0" presId="urn:microsoft.com/office/officeart/2005/8/layout/hProcess11"/>
    <dgm:cxn modelId="{84E93FB5-29EA-43EC-B5F7-3B693CBFC63B}" type="presParOf" srcId="{C1E04E9D-66F3-4700-9522-C30C5A21C156}" destId="{BC28ECB3-249B-4C81-B419-9DD9A6432010}" srcOrd="2" destOrd="0" presId="urn:microsoft.com/office/officeart/2005/8/layout/hProcess11"/>
    <dgm:cxn modelId="{787AC80B-DDFF-4803-BB99-049D3F15789D}" type="presParOf" srcId="{BC28ECB3-249B-4C81-B419-9DD9A6432010}" destId="{740256C5-980F-411F-B090-C5F80D866635}" srcOrd="0" destOrd="0" presId="urn:microsoft.com/office/officeart/2005/8/layout/hProcess11"/>
    <dgm:cxn modelId="{BBB7B2C1-DC1C-45A9-BD8C-C58E3E0D4B53}" type="presParOf" srcId="{BC28ECB3-249B-4C81-B419-9DD9A6432010}" destId="{AE91A418-CAA6-4D68-B4CF-DB9238D05886}" srcOrd="1" destOrd="0" presId="urn:microsoft.com/office/officeart/2005/8/layout/hProcess11"/>
    <dgm:cxn modelId="{913C77EF-CCFB-4E15-AFA4-BEF781363EC1}" type="presParOf" srcId="{BC28ECB3-249B-4C81-B419-9DD9A6432010}" destId="{B1C34FAD-05F1-4AFD-8BF6-A618E88FDDAC}" srcOrd="2" destOrd="0" presId="urn:microsoft.com/office/officeart/2005/8/layout/hProcess11"/>
    <dgm:cxn modelId="{47010B3F-C77C-4881-B4FD-2CB72D671189}" type="presParOf" srcId="{C1E04E9D-66F3-4700-9522-C30C5A21C156}" destId="{6F7444A8-75B7-4F7C-A1C0-F8175B4101B5}" srcOrd="3" destOrd="0" presId="urn:microsoft.com/office/officeart/2005/8/layout/hProcess11"/>
    <dgm:cxn modelId="{679AB99D-CDB7-410F-927E-9076A9B50ACE}" type="presParOf" srcId="{C1E04E9D-66F3-4700-9522-C30C5A21C156}" destId="{26501F8F-B3C8-4A4D-B920-1AC135EA2501}" srcOrd="4" destOrd="0" presId="urn:microsoft.com/office/officeart/2005/8/layout/hProcess11"/>
    <dgm:cxn modelId="{6B59B3B0-063E-40AE-8441-FC5EC4FDEDB4}" type="presParOf" srcId="{26501F8F-B3C8-4A4D-B920-1AC135EA2501}" destId="{2027F1B0-4AAF-405D-B763-7D33A0A90757}" srcOrd="0" destOrd="0" presId="urn:microsoft.com/office/officeart/2005/8/layout/hProcess11"/>
    <dgm:cxn modelId="{3B1FE982-9D69-4A48-9DE1-DF8D7F71F82E}" type="presParOf" srcId="{26501F8F-B3C8-4A4D-B920-1AC135EA2501}" destId="{F457BBA2-0358-4929-AA5A-7F7700A31C2C}" srcOrd="1" destOrd="0" presId="urn:microsoft.com/office/officeart/2005/8/layout/hProcess11"/>
    <dgm:cxn modelId="{8098C1CA-F09B-4E08-8EBB-18DAE0BDD6EE}" type="presParOf" srcId="{26501F8F-B3C8-4A4D-B920-1AC135EA2501}" destId="{D53C508C-FC27-43D8-B650-8AECD89B7DA4}" srcOrd="2" destOrd="0" presId="urn:microsoft.com/office/officeart/2005/8/layout/hProcess11"/>
    <dgm:cxn modelId="{06DD1456-4202-430A-9B14-7805E9A7A818}" type="presParOf" srcId="{C1E04E9D-66F3-4700-9522-C30C5A21C156}" destId="{C4B8B35C-C2BA-4925-8AE2-B80C4CBC968F}" srcOrd="5" destOrd="0" presId="urn:microsoft.com/office/officeart/2005/8/layout/hProcess11"/>
    <dgm:cxn modelId="{152ACD66-741E-4DF3-A20B-0462795973C1}" type="presParOf" srcId="{C1E04E9D-66F3-4700-9522-C30C5A21C156}" destId="{EC5EC655-33D4-4392-A7D7-9C2B71A30E83}" srcOrd="6" destOrd="0" presId="urn:microsoft.com/office/officeart/2005/8/layout/hProcess11"/>
    <dgm:cxn modelId="{6AC53713-E3E8-4A38-BF4C-C968835A93C5}" type="presParOf" srcId="{EC5EC655-33D4-4392-A7D7-9C2B71A30E83}" destId="{E23C771F-1510-4250-9327-AAC9E90F67A4}" srcOrd="0" destOrd="0" presId="urn:microsoft.com/office/officeart/2005/8/layout/hProcess11"/>
    <dgm:cxn modelId="{E499596D-2A54-4F80-922D-9B3FB770EAEC}" type="presParOf" srcId="{EC5EC655-33D4-4392-A7D7-9C2B71A30E83}" destId="{3654EF6E-3A9F-42E8-9400-1F2835807B9F}" srcOrd="1" destOrd="0" presId="urn:microsoft.com/office/officeart/2005/8/layout/hProcess11"/>
    <dgm:cxn modelId="{EF5392E1-51E4-495C-ACD2-647E4A1400D3}" type="presParOf" srcId="{EC5EC655-33D4-4392-A7D7-9C2B71A30E83}" destId="{5280F9B1-E840-413C-8921-2F4BFA2C426D}" srcOrd="2" destOrd="0" presId="urn:microsoft.com/office/officeart/2005/8/layout/hProcess11"/>
    <dgm:cxn modelId="{85809650-5964-4186-B953-3B076AC03436}" type="presParOf" srcId="{C1E04E9D-66F3-4700-9522-C30C5A21C156}" destId="{477212F3-F132-46CA-ACDE-80659244704D}" srcOrd="7" destOrd="0" presId="urn:microsoft.com/office/officeart/2005/8/layout/hProcess11"/>
    <dgm:cxn modelId="{58C4595B-64FA-AA46-9EFF-8691D183BE81}" type="presParOf" srcId="{C1E04E9D-66F3-4700-9522-C30C5A21C156}" destId="{A383CFAC-F7A8-1A4F-80D5-C5E04EFD920C}" srcOrd="8" destOrd="0" presId="urn:microsoft.com/office/officeart/2005/8/layout/hProcess11"/>
    <dgm:cxn modelId="{F5BE1D95-C8FC-C74D-B790-D39EA7D508E5}" type="presParOf" srcId="{A383CFAC-F7A8-1A4F-80D5-C5E04EFD920C}" destId="{ED10F3A6-9408-0541-80A0-CD54413C44D5}" srcOrd="0" destOrd="0" presId="urn:microsoft.com/office/officeart/2005/8/layout/hProcess11"/>
    <dgm:cxn modelId="{B93509FE-165B-AF4A-B4C9-C36A11CCB356}" type="presParOf" srcId="{A383CFAC-F7A8-1A4F-80D5-C5E04EFD920C}" destId="{7CAFB553-6376-AE4C-B6D2-C17A8907DA9D}" srcOrd="1" destOrd="0" presId="urn:microsoft.com/office/officeart/2005/8/layout/hProcess11"/>
    <dgm:cxn modelId="{A66BC20B-D765-9442-B56E-32F821A53CF0}" type="presParOf" srcId="{A383CFAC-F7A8-1A4F-80D5-C5E04EFD920C}" destId="{61D35B48-1362-2A45-9956-24187383CD83}" srcOrd="2" destOrd="0" presId="urn:microsoft.com/office/officeart/2005/8/layout/hProcess11"/>
    <dgm:cxn modelId="{8FF706EF-3155-4A44-A475-9744A44D7E82}" type="presParOf" srcId="{C1E04E9D-66F3-4700-9522-C30C5A21C156}" destId="{C61A1D32-5F68-4CE3-9648-88BE07F64354}" srcOrd="9" destOrd="0" presId="urn:microsoft.com/office/officeart/2005/8/layout/hProcess11"/>
    <dgm:cxn modelId="{566038F3-2177-BF44-BCAC-849819994EBF}" type="presParOf" srcId="{C1E04E9D-66F3-4700-9522-C30C5A21C156}" destId="{420E2590-7CE9-0744-8C8E-AA643DE77F1C}" srcOrd="10" destOrd="0" presId="urn:microsoft.com/office/officeart/2005/8/layout/hProcess11"/>
    <dgm:cxn modelId="{74483157-7890-FE43-BC01-FF9C8A45390C}" type="presParOf" srcId="{420E2590-7CE9-0744-8C8E-AA643DE77F1C}" destId="{7ADE62F8-115D-B240-BB39-75E81BB49C36}" srcOrd="0" destOrd="0" presId="urn:microsoft.com/office/officeart/2005/8/layout/hProcess11"/>
    <dgm:cxn modelId="{432E6459-55C3-6A44-ACD9-218DBC4F9F78}" type="presParOf" srcId="{420E2590-7CE9-0744-8C8E-AA643DE77F1C}" destId="{B32B3247-78C4-944A-83DD-59E085022583}" srcOrd="1" destOrd="0" presId="urn:microsoft.com/office/officeart/2005/8/layout/hProcess11"/>
    <dgm:cxn modelId="{B8603227-BCC3-0B4D-A750-D559DE553693}" type="presParOf" srcId="{420E2590-7CE9-0744-8C8E-AA643DE77F1C}" destId="{F3DCDF32-666E-4E4E-BF3F-0C346AE62732}" srcOrd="2" destOrd="0" presId="urn:microsoft.com/office/officeart/2005/8/layout/hProcess1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360DEDF-2A11-A747-AC78-B3838A00642E}" type="doc">
      <dgm:prSet loTypeId="urn:microsoft.com/office/officeart/2005/8/layout/pyramid1" loCatId="" qsTypeId="urn:microsoft.com/office/officeart/2005/8/quickstyle/simple1" qsCatId="simple" csTypeId="urn:microsoft.com/office/officeart/2005/8/colors/accent1_2" csCatId="accent1" phldr="1"/>
      <dgm:spPr/>
    </dgm:pt>
    <dgm:pt modelId="{17AB0123-6A0D-0940-A313-CE5CBB2B98BB}">
      <dgm:prSet phldrT="[Tekst]" custT="1"/>
      <dgm:spPr/>
      <dgm:t>
        <a:bodyPr/>
        <a:lstStyle/>
        <a:p>
          <a:endParaRPr lang="nb-NO" sz="2000" dirty="0">
            <a:solidFill>
              <a:schemeClr val="bg1"/>
            </a:solidFill>
          </a:endParaRPr>
        </a:p>
        <a:p>
          <a:r>
            <a:rPr lang="nb-NO" sz="2000" dirty="0">
              <a:solidFill>
                <a:schemeClr val="bg1"/>
              </a:solidFill>
            </a:rPr>
            <a:t>Great </a:t>
          </a:r>
        </a:p>
        <a:p>
          <a:r>
            <a:rPr lang="nb-NO" sz="2000" dirty="0">
              <a:solidFill>
                <a:schemeClr val="bg1"/>
              </a:solidFill>
            </a:rPr>
            <a:t>design</a:t>
          </a:r>
        </a:p>
      </dgm:t>
    </dgm:pt>
    <dgm:pt modelId="{03B95BDF-ADAB-BB4A-B8D8-152491EFE69B}" type="parTrans" cxnId="{23CEA85B-A110-BB48-A3EA-2A90672A227A}">
      <dgm:prSet/>
      <dgm:spPr/>
      <dgm:t>
        <a:bodyPr/>
        <a:lstStyle/>
        <a:p>
          <a:endParaRPr lang="nb-NO"/>
        </a:p>
      </dgm:t>
    </dgm:pt>
    <dgm:pt modelId="{BADB0732-63CB-3E43-96DF-7645134B324F}" type="sibTrans" cxnId="{23CEA85B-A110-BB48-A3EA-2A90672A227A}">
      <dgm:prSet/>
      <dgm:spPr/>
      <dgm:t>
        <a:bodyPr/>
        <a:lstStyle/>
        <a:p>
          <a:endParaRPr lang="nb-NO"/>
        </a:p>
      </dgm:t>
    </dgm:pt>
    <dgm:pt modelId="{56CDEE74-F0F1-2C47-BDC1-21ED2BCED9D2}">
      <dgm:prSet phldrT="[Tekst]" custT="1"/>
      <dgm:spPr/>
      <dgm:t>
        <a:bodyPr/>
        <a:lstStyle/>
        <a:p>
          <a:r>
            <a:rPr lang="nb-NO" sz="2000" dirty="0" err="1">
              <a:solidFill>
                <a:schemeClr val="bg1"/>
              </a:solidFill>
            </a:rPr>
            <a:t>Usable</a:t>
          </a:r>
          <a:endParaRPr lang="nb-NO" sz="2000" dirty="0">
            <a:solidFill>
              <a:schemeClr val="bg1"/>
            </a:solidFill>
          </a:endParaRPr>
        </a:p>
      </dgm:t>
    </dgm:pt>
    <dgm:pt modelId="{65BE8870-2FCA-8143-AA2C-1D3FE6279D4C}" type="parTrans" cxnId="{7CCB129B-3238-5843-AA68-D35A4E8588D4}">
      <dgm:prSet/>
      <dgm:spPr/>
      <dgm:t>
        <a:bodyPr/>
        <a:lstStyle/>
        <a:p>
          <a:endParaRPr lang="nb-NO"/>
        </a:p>
      </dgm:t>
    </dgm:pt>
    <dgm:pt modelId="{934E18D6-19B4-BF46-BB5F-3AB1F52A2B47}" type="sibTrans" cxnId="{7CCB129B-3238-5843-AA68-D35A4E8588D4}">
      <dgm:prSet/>
      <dgm:spPr/>
      <dgm:t>
        <a:bodyPr/>
        <a:lstStyle/>
        <a:p>
          <a:endParaRPr lang="nb-NO"/>
        </a:p>
      </dgm:t>
    </dgm:pt>
    <dgm:pt modelId="{D7FCF6C5-6818-1A43-9A1A-F139A4A6C304}">
      <dgm:prSet phldrT="[Tekst]" custT="1"/>
      <dgm:spPr/>
      <dgm:t>
        <a:bodyPr/>
        <a:lstStyle/>
        <a:p>
          <a:r>
            <a:rPr lang="nb-NO" sz="2000" dirty="0">
              <a:solidFill>
                <a:schemeClr val="bg1"/>
              </a:solidFill>
            </a:rPr>
            <a:t>Reliable</a:t>
          </a:r>
        </a:p>
      </dgm:t>
    </dgm:pt>
    <dgm:pt modelId="{C9E9B956-FC13-C946-8F03-97D3D641DA05}" type="parTrans" cxnId="{F21D48BD-A43F-924E-92D3-F711D7A4AF9B}">
      <dgm:prSet/>
      <dgm:spPr/>
      <dgm:t>
        <a:bodyPr/>
        <a:lstStyle/>
        <a:p>
          <a:endParaRPr lang="nb-NO"/>
        </a:p>
      </dgm:t>
    </dgm:pt>
    <dgm:pt modelId="{3D63634C-3234-944B-8918-35D440A179A5}" type="sibTrans" cxnId="{F21D48BD-A43F-924E-92D3-F711D7A4AF9B}">
      <dgm:prSet/>
      <dgm:spPr/>
      <dgm:t>
        <a:bodyPr/>
        <a:lstStyle/>
        <a:p>
          <a:endParaRPr lang="nb-NO"/>
        </a:p>
      </dgm:t>
    </dgm:pt>
    <dgm:pt modelId="{6772BE18-0C8C-6B4B-8195-DF0BE0DFA051}">
      <dgm:prSet phldrT="[Tekst]" custT="1"/>
      <dgm:spPr/>
      <dgm:t>
        <a:bodyPr/>
        <a:lstStyle/>
        <a:p>
          <a:r>
            <a:rPr lang="nb-NO" sz="2000" dirty="0" err="1">
              <a:solidFill>
                <a:schemeClr val="bg1"/>
              </a:solidFill>
            </a:rPr>
            <a:t>Functional</a:t>
          </a:r>
          <a:endParaRPr lang="nb-NO" sz="2000" dirty="0">
            <a:solidFill>
              <a:schemeClr val="bg1"/>
            </a:solidFill>
          </a:endParaRPr>
        </a:p>
      </dgm:t>
    </dgm:pt>
    <dgm:pt modelId="{71033C8C-6FDE-2A49-B08A-07178AC74E32}" type="parTrans" cxnId="{B9F6FF60-44FC-404B-A772-82471EE6FB3A}">
      <dgm:prSet/>
      <dgm:spPr/>
      <dgm:t>
        <a:bodyPr/>
        <a:lstStyle/>
        <a:p>
          <a:endParaRPr lang="nb-NO"/>
        </a:p>
      </dgm:t>
    </dgm:pt>
    <dgm:pt modelId="{5B0EF5DC-A6BB-1846-8B67-965724FA8CB7}" type="sibTrans" cxnId="{B9F6FF60-44FC-404B-A772-82471EE6FB3A}">
      <dgm:prSet/>
      <dgm:spPr/>
      <dgm:t>
        <a:bodyPr/>
        <a:lstStyle/>
        <a:p>
          <a:endParaRPr lang="nb-NO"/>
        </a:p>
      </dgm:t>
    </dgm:pt>
    <dgm:pt modelId="{D69F01F9-6D43-0449-9F27-96AA224CEC80}" type="pres">
      <dgm:prSet presAssocID="{C360DEDF-2A11-A747-AC78-B3838A00642E}" presName="Name0" presStyleCnt="0">
        <dgm:presLayoutVars>
          <dgm:dir/>
          <dgm:animLvl val="lvl"/>
          <dgm:resizeHandles val="exact"/>
        </dgm:presLayoutVars>
      </dgm:prSet>
      <dgm:spPr/>
    </dgm:pt>
    <dgm:pt modelId="{3C9F12C4-3A8E-C948-8866-14803AD8616D}" type="pres">
      <dgm:prSet presAssocID="{17AB0123-6A0D-0940-A313-CE5CBB2B98BB}" presName="Name8" presStyleCnt="0"/>
      <dgm:spPr/>
    </dgm:pt>
    <dgm:pt modelId="{6D1750E1-9AF0-EA46-A500-3002E257B91C}" type="pres">
      <dgm:prSet presAssocID="{17AB0123-6A0D-0940-A313-CE5CBB2B98BB}" presName="level" presStyleLbl="node1" presStyleIdx="0" presStyleCnt="4">
        <dgm:presLayoutVars>
          <dgm:chMax val="1"/>
          <dgm:bulletEnabled val="1"/>
        </dgm:presLayoutVars>
      </dgm:prSet>
      <dgm:spPr/>
    </dgm:pt>
    <dgm:pt modelId="{63B48AF5-AEE3-604D-B8B2-C08196EA8084}" type="pres">
      <dgm:prSet presAssocID="{17AB0123-6A0D-0940-A313-CE5CBB2B98BB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AD58CE79-0976-FE41-98F1-DA9357CE5A44}" type="pres">
      <dgm:prSet presAssocID="{56CDEE74-F0F1-2C47-BDC1-21ED2BCED9D2}" presName="Name8" presStyleCnt="0"/>
      <dgm:spPr/>
    </dgm:pt>
    <dgm:pt modelId="{631191AE-6915-6E42-978F-C8D2A3E7BA42}" type="pres">
      <dgm:prSet presAssocID="{56CDEE74-F0F1-2C47-BDC1-21ED2BCED9D2}" presName="level" presStyleLbl="node1" presStyleIdx="1" presStyleCnt="4" custScaleY="41090">
        <dgm:presLayoutVars>
          <dgm:chMax val="1"/>
          <dgm:bulletEnabled val="1"/>
        </dgm:presLayoutVars>
      </dgm:prSet>
      <dgm:spPr/>
    </dgm:pt>
    <dgm:pt modelId="{4F688302-7672-9D4F-90FF-5A03AB025A4F}" type="pres">
      <dgm:prSet presAssocID="{56CDEE74-F0F1-2C47-BDC1-21ED2BCED9D2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2F044099-284E-DF4C-8111-D9B8F4EBE36B}" type="pres">
      <dgm:prSet presAssocID="{D7FCF6C5-6818-1A43-9A1A-F139A4A6C304}" presName="Name8" presStyleCnt="0"/>
      <dgm:spPr/>
    </dgm:pt>
    <dgm:pt modelId="{C7619ADC-E0C8-EE49-B7FE-771D7232196F}" type="pres">
      <dgm:prSet presAssocID="{D7FCF6C5-6818-1A43-9A1A-F139A4A6C304}" presName="level" presStyleLbl="node1" presStyleIdx="2" presStyleCnt="4" custScaleY="40917">
        <dgm:presLayoutVars>
          <dgm:chMax val="1"/>
          <dgm:bulletEnabled val="1"/>
        </dgm:presLayoutVars>
      </dgm:prSet>
      <dgm:spPr/>
    </dgm:pt>
    <dgm:pt modelId="{E25E0210-20E1-B344-8A1B-7D842BFAD483}" type="pres">
      <dgm:prSet presAssocID="{D7FCF6C5-6818-1A43-9A1A-F139A4A6C304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2D8220EC-6CBD-7142-9EED-A9406603F66D}" type="pres">
      <dgm:prSet presAssocID="{6772BE18-0C8C-6B4B-8195-DF0BE0DFA051}" presName="Name8" presStyleCnt="0"/>
      <dgm:spPr/>
    </dgm:pt>
    <dgm:pt modelId="{9595E17D-8451-1244-B236-E4D4EF6E52FF}" type="pres">
      <dgm:prSet presAssocID="{6772BE18-0C8C-6B4B-8195-DF0BE0DFA051}" presName="level" presStyleLbl="node1" presStyleIdx="3" presStyleCnt="4" custScaleY="41614">
        <dgm:presLayoutVars>
          <dgm:chMax val="1"/>
          <dgm:bulletEnabled val="1"/>
        </dgm:presLayoutVars>
      </dgm:prSet>
      <dgm:spPr/>
    </dgm:pt>
    <dgm:pt modelId="{D1BC003F-46F3-E44C-8BC4-9F64782A02EE}" type="pres">
      <dgm:prSet presAssocID="{6772BE18-0C8C-6B4B-8195-DF0BE0DFA051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954D0A05-B88D-B145-A46D-566C5383D496}" type="presOf" srcId="{C360DEDF-2A11-A747-AC78-B3838A00642E}" destId="{D69F01F9-6D43-0449-9F27-96AA224CEC80}" srcOrd="0" destOrd="0" presId="urn:microsoft.com/office/officeart/2005/8/layout/pyramid1"/>
    <dgm:cxn modelId="{8F494050-0412-644E-B819-8402B26FDE39}" type="presOf" srcId="{6772BE18-0C8C-6B4B-8195-DF0BE0DFA051}" destId="{D1BC003F-46F3-E44C-8BC4-9F64782A02EE}" srcOrd="1" destOrd="0" presId="urn:microsoft.com/office/officeart/2005/8/layout/pyramid1"/>
    <dgm:cxn modelId="{23CEA85B-A110-BB48-A3EA-2A90672A227A}" srcId="{C360DEDF-2A11-A747-AC78-B3838A00642E}" destId="{17AB0123-6A0D-0940-A313-CE5CBB2B98BB}" srcOrd="0" destOrd="0" parTransId="{03B95BDF-ADAB-BB4A-B8D8-152491EFE69B}" sibTransId="{BADB0732-63CB-3E43-96DF-7645134B324F}"/>
    <dgm:cxn modelId="{B9F6FF60-44FC-404B-A772-82471EE6FB3A}" srcId="{C360DEDF-2A11-A747-AC78-B3838A00642E}" destId="{6772BE18-0C8C-6B4B-8195-DF0BE0DFA051}" srcOrd="3" destOrd="0" parTransId="{71033C8C-6FDE-2A49-B08A-07178AC74E32}" sibTransId="{5B0EF5DC-A6BB-1846-8B67-965724FA8CB7}"/>
    <dgm:cxn modelId="{71DD8161-2A8B-A44B-9C5B-8E120689B326}" type="presOf" srcId="{56CDEE74-F0F1-2C47-BDC1-21ED2BCED9D2}" destId="{631191AE-6915-6E42-978F-C8D2A3E7BA42}" srcOrd="0" destOrd="0" presId="urn:microsoft.com/office/officeart/2005/8/layout/pyramid1"/>
    <dgm:cxn modelId="{CEE49463-B9B8-FB46-BF58-A8B5E9FF9CBF}" type="presOf" srcId="{17AB0123-6A0D-0940-A313-CE5CBB2B98BB}" destId="{63B48AF5-AEE3-604D-B8B2-C08196EA8084}" srcOrd="1" destOrd="0" presId="urn:microsoft.com/office/officeart/2005/8/layout/pyramid1"/>
    <dgm:cxn modelId="{7CCB129B-3238-5843-AA68-D35A4E8588D4}" srcId="{C360DEDF-2A11-A747-AC78-B3838A00642E}" destId="{56CDEE74-F0F1-2C47-BDC1-21ED2BCED9D2}" srcOrd="1" destOrd="0" parTransId="{65BE8870-2FCA-8143-AA2C-1D3FE6279D4C}" sibTransId="{934E18D6-19B4-BF46-BB5F-3AB1F52A2B47}"/>
    <dgm:cxn modelId="{A8C6F9B2-9CA6-5D4A-805E-2C5D08C5E668}" type="presOf" srcId="{D7FCF6C5-6818-1A43-9A1A-F139A4A6C304}" destId="{E25E0210-20E1-B344-8A1B-7D842BFAD483}" srcOrd="1" destOrd="0" presId="urn:microsoft.com/office/officeart/2005/8/layout/pyramid1"/>
    <dgm:cxn modelId="{F21D48BD-A43F-924E-92D3-F711D7A4AF9B}" srcId="{C360DEDF-2A11-A747-AC78-B3838A00642E}" destId="{D7FCF6C5-6818-1A43-9A1A-F139A4A6C304}" srcOrd="2" destOrd="0" parTransId="{C9E9B956-FC13-C946-8F03-97D3D641DA05}" sibTransId="{3D63634C-3234-944B-8918-35D440A179A5}"/>
    <dgm:cxn modelId="{9239BAD9-E9CF-5A4D-A84E-B641608AAFF5}" type="presOf" srcId="{D7FCF6C5-6818-1A43-9A1A-F139A4A6C304}" destId="{C7619ADC-E0C8-EE49-B7FE-771D7232196F}" srcOrd="0" destOrd="0" presId="urn:microsoft.com/office/officeart/2005/8/layout/pyramid1"/>
    <dgm:cxn modelId="{424C7FE1-E655-3147-976B-AA0303EDD378}" type="presOf" srcId="{6772BE18-0C8C-6B4B-8195-DF0BE0DFA051}" destId="{9595E17D-8451-1244-B236-E4D4EF6E52FF}" srcOrd="0" destOrd="0" presId="urn:microsoft.com/office/officeart/2005/8/layout/pyramid1"/>
    <dgm:cxn modelId="{005E39F4-8584-9846-A57E-8A747E4FE20E}" type="presOf" srcId="{17AB0123-6A0D-0940-A313-CE5CBB2B98BB}" destId="{6D1750E1-9AF0-EA46-A500-3002E257B91C}" srcOrd="0" destOrd="0" presId="urn:microsoft.com/office/officeart/2005/8/layout/pyramid1"/>
    <dgm:cxn modelId="{E799A9F9-4916-8140-A6C7-C3A17C81D95E}" type="presOf" srcId="{56CDEE74-F0F1-2C47-BDC1-21ED2BCED9D2}" destId="{4F688302-7672-9D4F-90FF-5A03AB025A4F}" srcOrd="1" destOrd="0" presId="urn:microsoft.com/office/officeart/2005/8/layout/pyramid1"/>
    <dgm:cxn modelId="{11BA9CB0-89C6-E748-8B85-C1ACB3A79F96}" type="presParOf" srcId="{D69F01F9-6D43-0449-9F27-96AA224CEC80}" destId="{3C9F12C4-3A8E-C948-8866-14803AD8616D}" srcOrd="0" destOrd="0" presId="urn:microsoft.com/office/officeart/2005/8/layout/pyramid1"/>
    <dgm:cxn modelId="{B2605D5F-A19F-F04B-9F1A-A91B5E13CB4E}" type="presParOf" srcId="{3C9F12C4-3A8E-C948-8866-14803AD8616D}" destId="{6D1750E1-9AF0-EA46-A500-3002E257B91C}" srcOrd="0" destOrd="0" presId="urn:microsoft.com/office/officeart/2005/8/layout/pyramid1"/>
    <dgm:cxn modelId="{655F36AA-C6D0-D04A-8EE9-949F114241D6}" type="presParOf" srcId="{3C9F12C4-3A8E-C948-8866-14803AD8616D}" destId="{63B48AF5-AEE3-604D-B8B2-C08196EA8084}" srcOrd="1" destOrd="0" presId="urn:microsoft.com/office/officeart/2005/8/layout/pyramid1"/>
    <dgm:cxn modelId="{28B2B8AD-54E7-0143-9854-FF1CB0A0CE6A}" type="presParOf" srcId="{D69F01F9-6D43-0449-9F27-96AA224CEC80}" destId="{AD58CE79-0976-FE41-98F1-DA9357CE5A44}" srcOrd="1" destOrd="0" presId="urn:microsoft.com/office/officeart/2005/8/layout/pyramid1"/>
    <dgm:cxn modelId="{C0CF2878-8110-9242-B60F-3D55FEF7383F}" type="presParOf" srcId="{AD58CE79-0976-FE41-98F1-DA9357CE5A44}" destId="{631191AE-6915-6E42-978F-C8D2A3E7BA42}" srcOrd="0" destOrd="0" presId="urn:microsoft.com/office/officeart/2005/8/layout/pyramid1"/>
    <dgm:cxn modelId="{9BD09274-8480-3D4C-B5EB-469A954D6CD2}" type="presParOf" srcId="{AD58CE79-0976-FE41-98F1-DA9357CE5A44}" destId="{4F688302-7672-9D4F-90FF-5A03AB025A4F}" srcOrd="1" destOrd="0" presId="urn:microsoft.com/office/officeart/2005/8/layout/pyramid1"/>
    <dgm:cxn modelId="{F9A440BA-E252-B740-9E70-605E7233665C}" type="presParOf" srcId="{D69F01F9-6D43-0449-9F27-96AA224CEC80}" destId="{2F044099-284E-DF4C-8111-D9B8F4EBE36B}" srcOrd="2" destOrd="0" presId="urn:microsoft.com/office/officeart/2005/8/layout/pyramid1"/>
    <dgm:cxn modelId="{8C47899F-3735-0947-A963-F6627F2B3387}" type="presParOf" srcId="{2F044099-284E-DF4C-8111-D9B8F4EBE36B}" destId="{C7619ADC-E0C8-EE49-B7FE-771D7232196F}" srcOrd="0" destOrd="0" presId="urn:microsoft.com/office/officeart/2005/8/layout/pyramid1"/>
    <dgm:cxn modelId="{C70FC72E-752B-4941-A0D7-290294E93748}" type="presParOf" srcId="{2F044099-284E-DF4C-8111-D9B8F4EBE36B}" destId="{E25E0210-20E1-B344-8A1B-7D842BFAD483}" srcOrd="1" destOrd="0" presId="urn:microsoft.com/office/officeart/2005/8/layout/pyramid1"/>
    <dgm:cxn modelId="{D017018D-A68D-C44E-A934-8D5E9C805C57}" type="presParOf" srcId="{D69F01F9-6D43-0449-9F27-96AA224CEC80}" destId="{2D8220EC-6CBD-7142-9EED-A9406603F66D}" srcOrd="3" destOrd="0" presId="urn:microsoft.com/office/officeart/2005/8/layout/pyramid1"/>
    <dgm:cxn modelId="{48DCD6D2-E5BA-C144-B79C-ADA2D967A512}" type="presParOf" srcId="{2D8220EC-6CBD-7142-9EED-A9406603F66D}" destId="{9595E17D-8451-1244-B236-E4D4EF6E52FF}" srcOrd="0" destOrd="0" presId="urn:microsoft.com/office/officeart/2005/8/layout/pyramid1"/>
    <dgm:cxn modelId="{1FF0B2B7-813E-4D4A-A485-C69FD97C61C3}" type="presParOf" srcId="{2D8220EC-6CBD-7142-9EED-A9406603F66D}" destId="{D1BC003F-46F3-E44C-8BC4-9F64782A02EE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360DEDF-2A11-A747-AC78-B3838A00642E}" type="doc">
      <dgm:prSet loTypeId="urn:microsoft.com/office/officeart/2005/8/layout/pyramid1" loCatId="" qsTypeId="urn:microsoft.com/office/officeart/2005/8/quickstyle/simple1" qsCatId="simple" csTypeId="urn:microsoft.com/office/officeart/2005/8/colors/accent1_2" csCatId="accent1" phldr="1"/>
      <dgm:spPr/>
    </dgm:pt>
    <dgm:pt modelId="{17AB0123-6A0D-0940-A313-CE5CBB2B98BB}">
      <dgm:prSet phldrT="[Tekst]" custT="1"/>
      <dgm:spPr/>
      <dgm:t>
        <a:bodyPr/>
        <a:lstStyle/>
        <a:p>
          <a:endParaRPr lang="nb-NO" sz="2000" dirty="0">
            <a:solidFill>
              <a:schemeClr val="bg1"/>
            </a:solidFill>
          </a:endParaRPr>
        </a:p>
        <a:p>
          <a:r>
            <a:rPr lang="nb-NO" sz="2000" dirty="0">
              <a:solidFill>
                <a:schemeClr val="bg1"/>
              </a:solidFill>
            </a:rPr>
            <a:t>Great </a:t>
          </a:r>
        </a:p>
        <a:p>
          <a:r>
            <a:rPr lang="nb-NO" sz="2000" dirty="0">
              <a:solidFill>
                <a:schemeClr val="bg1"/>
              </a:solidFill>
            </a:rPr>
            <a:t>design</a:t>
          </a:r>
        </a:p>
      </dgm:t>
    </dgm:pt>
    <dgm:pt modelId="{03B95BDF-ADAB-BB4A-B8D8-152491EFE69B}" type="parTrans" cxnId="{23CEA85B-A110-BB48-A3EA-2A90672A227A}">
      <dgm:prSet/>
      <dgm:spPr/>
      <dgm:t>
        <a:bodyPr/>
        <a:lstStyle/>
        <a:p>
          <a:endParaRPr lang="nb-NO"/>
        </a:p>
      </dgm:t>
    </dgm:pt>
    <dgm:pt modelId="{BADB0732-63CB-3E43-96DF-7645134B324F}" type="sibTrans" cxnId="{23CEA85B-A110-BB48-A3EA-2A90672A227A}">
      <dgm:prSet/>
      <dgm:spPr/>
      <dgm:t>
        <a:bodyPr/>
        <a:lstStyle/>
        <a:p>
          <a:endParaRPr lang="nb-NO"/>
        </a:p>
      </dgm:t>
    </dgm:pt>
    <dgm:pt modelId="{56CDEE74-F0F1-2C47-BDC1-21ED2BCED9D2}">
      <dgm:prSet phldrT="[Tekst]" custT="1"/>
      <dgm:spPr/>
      <dgm:t>
        <a:bodyPr/>
        <a:lstStyle/>
        <a:p>
          <a:r>
            <a:rPr lang="nb-NO" sz="2000" dirty="0" err="1">
              <a:solidFill>
                <a:schemeClr val="bg1"/>
              </a:solidFill>
            </a:rPr>
            <a:t>Usable</a:t>
          </a:r>
          <a:endParaRPr lang="nb-NO" sz="2000" dirty="0">
            <a:solidFill>
              <a:schemeClr val="bg1"/>
            </a:solidFill>
          </a:endParaRPr>
        </a:p>
      </dgm:t>
    </dgm:pt>
    <dgm:pt modelId="{65BE8870-2FCA-8143-AA2C-1D3FE6279D4C}" type="parTrans" cxnId="{7CCB129B-3238-5843-AA68-D35A4E8588D4}">
      <dgm:prSet/>
      <dgm:spPr/>
      <dgm:t>
        <a:bodyPr/>
        <a:lstStyle/>
        <a:p>
          <a:endParaRPr lang="nb-NO"/>
        </a:p>
      </dgm:t>
    </dgm:pt>
    <dgm:pt modelId="{934E18D6-19B4-BF46-BB5F-3AB1F52A2B47}" type="sibTrans" cxnId="{7CCB129B-3238-5843-AA68-D35A4E8588D4}">
      <dgm:prSet/>
      <dgm:spPr/>
      <dgm:t>
        <a:bodyPr/>
        <a:lstStyle/>
        <a:p>
          <a:endParaRPr lang="nb-NO"/>
        </a:p>
      </dgm:t>
    </dgm:pt>
    <dgm:pt modelId="{D7FCF6C5-6818-1A43-9A1A-F139A4A6C304}">
      <dgm:prSet phldrT="[Tekst]" custT="1"/>
      <dgm:spPr/>
      <dgm:t>
        <a:bodyPr/>
        <a:lstStyle/>
        <a:p>
          <a:r>
            <a:rPr lang="nb-NO" sz="2000" dirty="0">
              <a:solidFill>
                <a:schemeClr val="bg1"/>
              </a:solidFill>
            </a:rPr>
            <a:t>Reliable</a:t>
          </a:r>
        </a:p>
      </dgm:t>
    </dgm:pt>
    <dgm:pt modelId="{C9E9B956-FC13-C946-8F03-97D3D641DA05}" type="parTrans" cxnId="{F21D48BD-A43F-924E-92D3-F711D7A4AF9B}">
      <dgm:prSet/>
      <dgm:spPr/>
      <dgm:t>
        <a:bodyPr/>
        <a:lstStyle/>
        <a:p>
          <a:endParaRPr lang="nb-NO"/>
        </a:p>
      </dgm:t>
    </dgm:pt>
    <dgm:pt modelId="{3D63634C-3234-944B-8918-35D440A179A5}" type="sibTrans" cxnId="{F21D48BD-A43F-924E-92D3-F711D7A4AF9B}">
      <dgm:prSet/>
      <dgm:spPr/>
      <dgm:t>
        <a:bodyPr/>
        <a:lstStyle/>
        <a:p>
          <a:endParaRPr lang="nb-NO"/>
        </a:p>
      </dgm:t>
    </dgm:pt>
    <dgm:pt modelId="{6772BE18-0C8C-6B4B-8195-DF0BE0DFA051}">
      <dgm:prSet phldrT="[Tekst]" custT="1"/>
      <dgm:spPr/>
      <dgm:t>
        <a:bodyPr/>
        <a:lstStyle/>
        <a:p>
          <a:r>
            <a:rPr lang="nb-NO" sz="2000" dirty="0" err="1">
              <a:solidFill>
                <a:schemeClr val="bg1"/>
              </a:solidFill>
            </a:rPr>
            <a:t>Functional</a:t>
          </a:r>
          <a:endParaRPr lang="nb-NO" sz="2000" dirty="0">
            <a:solidFill>
              <a:schemeClr val="bg1"/>
            </a:solidFill>
          </a:endParaRPr>
        </a:p>
      </dgm:t>
    </dgm:pt>
    <dgm:pt modelId="{71033C8C-6FDE-2A49-B08A-07178AC74E32}" type="parTrans" cxnId="{B9F6FF60-44FC-404B-A772-82471EE6FB3A}">
      <dgm:prSet/>
      <dgm:spPr/>
      <dgm:t>
        <a:bodyPr/>
        <a:lstStyle/>
        <a:p>
          <a:endParaRPr lang="nb-NO"/>
        </a:p>
      </dgm:t>
    </dgm:pt>
    <dgm:pt modelId="{5B0EF5DC-A6BB-1846-8B67-965724FA8CB7}" type="sibTrans" cxnId="{B9F6FF60-44FC-404B-A772-82471EE6FB3A}">
      <dgm:prSet/>
      <dgm:spPr/>
      <dgm:t>
        <a:bodyPr/>
        <a:lstStyle/>
        <a:p>
          <a:endParaRPr lang="nb-NO"/>
        </a:p>
      </dgm:t>
    </dgm:pt>
    <dgm:pt modelId="{D69F01F9-6D43-0449-9F27-96AA224CEC80}" type="pres">
      <dgm:prSet presAssocID="{C360DEDF-2A11-A747-AC78-B3838A00642E}" presName="Name0" presStyleCnt="0">
        <dgm:presLayoutVars>
          <dgm:dir/>
          <dgm:animLvl val="lvl"/>
          <dgm:resizeHandles val="exact"/>
        </dgm:presLayoutVars>
      </dgm:prSet>
      <dgm:spPr/>
    </dgm:pt>
    <dgm:pt modelId="{3C9F12C4-3A8E-C948-8866-14803AD8616D}" type="pres">
      <dgm:prSet presAssocID="{17AB0123-6A0D-0940-A313-CE5CBB2B98BB}" presName="Name8" presStyleCnt="0"/>
      <dgm:spPr/>
    </dgm:pt>
    <dgm:pt modelId="{6D1750E1-9AF0-EA46-A500-3002E257B91C}" type="pres">
      <dgm:prSet presAssocID="{17AB0123-6A0D-0940-A313-CE5CBB2B98BB}" presName="level" presStyleLbl="node1" presStyleIdx="0" presStyleCnt="4">
        <dgm:presLayoutVars>
          <dgm:chMax val="1"/>
          <dgm:bulletEnabled val="1"/>
        </dgm:presLayoutVars>
      </dgm:prSet>
      <dgm:spPr/>
    </dgm:pt>
    <dgm:pt modelId="{63B48AF5-AEE3-604D-B8B2-C08196EA8084}" type="pres">
      <dgm:prSet presAssocID="{17AB0123-6A0D-0940-A313-CE5CBB2B98BB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AD58CE79-0976-FE41-98F1-DA9357CE5A44}" type="pres">
      <dgm:prSet presAssocID="{56CDEE74-F0F1-2C47-BDC1-21ED2BCED9D2}" presName="Name8" presStyleCnt="0"/>
      <dgm:spPr/>
    </dgm:pt>
    <dgm:pt modelId="{631191AE-6915-6E42-978F-C8D2A3E7BA42}" type="pres">
      <dgm:prSet presAssocID="{56CDEE74-F0F1-2C47-BDC1-21ED2BCED9D2}" presName="level" presStyleLbl="node1" presStyleIdx="1" presStyleCnt="4" custScaleY="41090">
        <dgm:presLayoutVars>
          <dgm:chMax val="1"/>
          <dgm:bulletEnabled val="1"/>
        </dgm:presLayoutVars>
      </dgm:prSet>
      <dgm:spPr/>
    </dgm:pt>
    <dgm:pt modelId="{4F688302-7672-9D4F-90FF-5A03AB025A4F}" type="pres">
      <dgm:prSet presAssocID="{56CDEE74-F0F1-2C47-BDC1-21ED2BCED9D2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2F044099-284E-DF4C-8111-D9B8F4EBE36B}" type="pres">
      <dgm:prSet presAssocID="{D7FCF6C5-6818-1A43-9A1A-F139A4A6C304}" presName="Name8" presStyleCnt="0"/>
      <dgm:spPr/>
    </dgm:pt>
    <dgm:pt modelId="{C7619ADC-E0C8-EE49-B7FE-771D7232196F}" type="pres">
      <dgm:prSet presAssocID="{D7FCF6C5-6818-1A43-9A1A-F139A4A6C304}" presName="level" presStyleLbl="node1" presStyleIdx="2" presStyleCnt="4" custScaleY="40917">
        <dgm:presLayoutVars>
          <dgm:chMax val="1"/>
          <dgm:bulletEnabled val="1"/>
        </dgm:presLayoutVars>
      </dgm:prSet>
      <dgm:spPr/>
    </dgm:pt>
    <dgm:pt modelId="{E25E0210-20E1-B344-8A1B-7D842BFAD483}" type="pres">
      <dgm:prSet presAssocID="{D7FCF6C5-6818-1A43-9A1A-F139A4A6C304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2D8220EC-6CBD-7142-9EED-A9406603F66D}" type="pres">
      <dgm:prSet presAssocID="{6772BE18-0C8C-6B4B-8195-DF0BE0DFA051}" presName="Name8" presStyleCnt="0"/>
      <dgm:spPr/>
    </dgm:pt>
    <dgm:pt modelId="{9595E17D-8451-1244-B236-E4D4EF6E52FF}" type="pres">
      <dgm:prSet presAssocID="{6772BE18-0C8C-6B4B-8195-DF0BE0DFA051}" presName="level" presStyleLbl="node1" presStyleIdx="3" presStyleCnt="4" custScaleY="41614">
        <dgm:presLayoutVars>
          <dgm:chMax val="1"/>
          <dgm:bulletEnabled val="1"/>
        </dgm:presLayoutVars>
      </dgm:prSet>
      <dgm:spPr/>
    </dgm:pt>
    <dgm:pt modelId="{D1BC003F-46F3-E44C-8BC4-9F64782A02EE}" type="pres">
      <dgm:prSet presAssocID="{6772BE18-0C8C-6B4B-8195-DF0BE0DFA051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954D0A05-B88D-B145-A46D-566C5383D496}" type="presOf" srcId="{C360DEDF-2A11-A747-AC78-B3838A00642E}" destId="{D69F01F9-6D43-0449-9F27-96AA224CEC80}" srcOrd="0" destOrd="0" presId="urn:microsoft.com/office/officeart/2005/8/layout/pyramid1"/>
    <dgm:cxn modelId="{8F494050-0412-644E-B819-8402B26FDE39}" type="presOf" srcId="{6772BE18-0C8C-6B4B-8195-DF0BE0DFA051}" destId="{D1BC003F-46F3-E44C-8BC4-9F64782A02EE}" srcOrd="1" destOrd="0" presId="urn:microsoft.com/office/officeart/2005/8/layout/pyramid1"/>
    <dgm:cxn modelId="{23CEA85B-A110-BB48-A3EA-2A90672A227A}" srcId="{C360DEDF-2A11-A747-AC78-B3838A00642E}" destId="{17AB0123-6A0D-0940-A313-CE5CBB2B98BB}" srcOrd="0" destOrd="0" parTransId="{03B95BDF-ADAB-BB4A-B8D8-152491EFE69B}" sibTransId="{BADB0732-63CB-3E43-96DF-7645134B324F}"/>
    <dgm:cxn modelId="{B9F6FF60-44FC-404B-A772-82471EE6FB3A}" srcId="{C360DEDF-2A11-A747-AC78-B3838A00642E}" destId="{6772BE18-0C8C-6B4B-8195-DF0BE0DFA051}" srcOrd="3" destOrd="0" parTransId="{71033C8C-6FDE-2A49-B08A-07178AC74E32}" sibTransId="{5B0EF5DC-A6BB-1846-8B67-965724FA8CB7}"/>
    <dgm:cxn modelId="{71DD8161-2A8B-A44B-9C5B-8E120689B326}" type="presOf" srcId="{56CDEE74-F0F1-2C47-BDC1-21ED2BCED9D2}" destId="{631191AE-6915-6E42-978F-C8D2A3E7BA42}" srcOrd="0" destOrd="0" presId="urn:microsoft.com/office/officeart/2005/8/layout/pyramid1"/>
    <dgm:cxn modelId="{CEE49463-B9B8-FB46-BF58-A8B5E9FF9CBF}" type="presOf" srcId="{17AB0123-6A0D-0940-A313-CE5CBB2B98BB}" destId="{63B48AF5-AEE3-604D-B8B2-C08196EA8084}" srcOrd="1" destOrd="0" presId="urn:microsoft.com/office/officeart/2005/8/layout/pyramid1"/>
    <dgm:cxn modelId="{7CCB129B-3238-5843-AA68-D35A4E8588D4}" srcId="{C360DEDF-2A11-A747-AC78-B3838A00642E}" destId="{56CDEE74-F0F1-2C47-BDC1-21ED2BCED9D2}" srcOrd="1" destOrd="0" parTransId="{65BE8870-2FCA-8143-AA2C-1D3FE6279D4C}" sibTransId="{934E18D6-19B4-BF46-BB5F-3AB1F52A2B47}"/>
    <dgm:cxn modelId="{A8C6F9B2-9CA6-5D4A-805E-2C5D08C5E668}" type="presOf" srcId="{D7FCF6C5-6818-1A43-9A1A-F139A4A6C304}" destId="{E25E0210-20E1-B344-8A1B-7D842BFAD483}" srcOrd="1" destOrd="0" presId="urn:microsoft.com/office/officeart/2005/8/layout/pyramid1"/>
    <dgm:cxn modelId="{F21D48BD-A43F-924E-92D3-F711D7A4AF9B}" srcId="{C360DEDF-2A11-A747-AC78-B3838A00642E}" destId="{D7FCF6C5-6818-1A43-9A1A-F139A4A6C304}" srcOrd="2" destOrd="0" parTransId="{C9E9B956-FC13-C946-8F03-97D3D641DA05}" sibTransId="{3D63634C-3234-944B-8918-35D440A179A5}"/>
    <dgm:cxn modelId="{9239BAD9-E9CF-5A4D-A84E-B641608AAFF5}" type="presOf" srcId="{D7FCF6C5-6818-1A43-9A1A-F139A4A6C304}" destId="{C7619ADC-E0C8-EE49-B7FE-771D7232196F}" srcOrd="0" destOrd="0" presId="urn:microsoft.com/office/officeart/2005/8/layout/pyramid1"/>
    <dgm:cxn modelId="{424C7FE1-E655-3147-976B-AA0303EDD378}" type="presOf" srcId="{6772BE18-0C8C-6B4B-8195-DF0BE0DFA051}" destId="{9595E17D-8451-1244-B236-E4D4EF6E52FF}" srcOrd="0" destOrd="0" presId="urn:microsoft.com/office/officeart/2005/8/layout/pyramid1"/>
    <dgm:cxn modelId="{005E39F4-8584-9846-A57E-8A747E4FE20E}" type="presOf" srcId="{17AB0123-6A0D-0940-A313-CE5CBB2B98BB}" destId="{6D1750E1-9AF0-EA46-A500-3002E257B91C}" srcOrd="0" destOrd="0" presId="urn:microsoft.com/office/officeart/2005/8/layout/pyramid1"/>
    <dgm:cxn modelId="{E799A9F9-4916-8140-A6C7-C3A17C81D95E}" type="presOf" srcId="{56CDEE74-F0F1-2C47-BDC1-21ED2BCED9D2}" destId="{4F688302-7672-9D4F-90FF-5A03AB025A4F}" srcOrd="1" destOrd="0" presId="urn:microsoft.com/office/officeart/2005/8/layout/pyramid1"/>
    <dgm:cxn modelId="{11BA9CB0-89C6-E748-8B85-C1ACB3A79F96}" type="presParOf" srcId="{D69F01F9-6D43-0449-9F27-96AA224CEC80}" destId="{3C9F12C4-3A8E-C948-8866-14803AD8616D}" srcOrd="0" destOrd="0" presId="urn:microsoft.com/office/officeart/2005/8/layout/pyramid1"/>
    <dgm:cxn modelId="{B2605D5F-A19F-F04B-9F1A-A91B5E13CB4E}" type="presParOf" srcId="{3C9F12C4-3A8E-C948-8866-14803AD8616D}" destId="{6D1750E1-9AF0-EA46-A500-3002E257B91C}" srcOrd="0" destOrd="0" presId="urn:microsoft.com/office/officeart/2005/8/layout/pyramid1"/>
    <dgm:cxn modelId="{655F36AA-C6D0-D04A-8EE9-949F114241D6}" type="presParOf" srcId="{3C9F12C4-3A8E-C948-8866-14803AD8616D}" destId="{63B48AF5-AEE3-604D-B8B2-C08196EA8084}" srcOrd="1" destOrd="0" presId="urn:microsoft.com/office/officeart/2005/8/layout/pyramid1"/>
    <dgm:cxn modelId="{28B2B8AD-54E7-0143-9854-FF1CB0A0CE6A}" type="presParOf" srcId="{D69F01F9-6D43-0449-9F27-96AA224CEC80}" destId="{AD58CE79-0976-FE41-98F1-DA9357CE5A44}" srcOrd="1" destOrd="0" presId="urn:microsoft.com/office/officeart/2005/8/layout/pyramid1"/>
    <dgm:cxn modelId="{C0CF2878-8110-9242-B60F-3D55FEF7383F}" type="presParOf" srcId="{AD58CE79-0976-FE41-98F1-DA9357CE5A44}" destId="{631191AE-6915-6E42-978F-C8D2A3E7BA42}" srcOrd="0" destOrd="0" presId="urn:microsoft.com/office/officeart/2005/8/layout/pyramid1"/>
    <dgm:cxn modelId="{9BD09274-8480-3D4C-B5EB-469A954D6CD2}" type="presParOf" srcId="{AD58CE79-0976-FE41-98F1-DA9357CE5A44}" destId="{4F688302-7672-9D4F-90FF-5A03AB025A4F}" srcOrd="1" destOrd="0" presId="urn:microsoft.com/office/officeart/2005/8/layout/pyramid1"/>
    <dgm:cxn modelId="{F9A440BA-E252-B740-9E70-605E7233665C}" type="presParOf" srcId="{D69F01F9-6D43-0449-9F27-96AA224CEC80}" destId="{2F044099-284E-DF4C-8111-D9B8F4EBE36B}" srcOrd="2" destOrd="0" presId="urn:microsoft.com/office/officeart/2005/8/layout/pyramid1"/>
    <dgm:cxn modelId="{8C47899F-3735-0947-A963-F6627F2B3387}" type="presParOf" srcId="{2F044099-284E-DF4C-8111-D9B8F4EBE36B}" destId="{C7619ADC-E0C8-EE49-B7FE-771D7232196F}" srcOrd="0" destOrd="0" presId="urn:microsoft.com/office/officeart/2005/8/layout/pyramid1"/>
    <dgm:cxn modelId="{C70FC72E-752B-4941-A0D7-290294E93748}" type="presParOf" srcId="{2F044099-284E-DF4C-8111-D9B8F4EBE36B}" destId="{E25E0210-20E1-B344-8A1B-7D842BFAD483}" srcOrd="1" destOrd="0" presId="urn:microsoft.com/office/officeart/2005/8/layout/pyramid1"/>
    <dgm:cxn modelId="{D017018D-A68D-C44E-A934-8D5E9C805C57}" type="presParOf" srcId="{D69F01F9-6D43-0449-9F27-96AA224CEC80}" destId="{2D8220EC-6CBD-7142-9EED-A9406603F66D}" srcOrd="3" destOrd="0" presId="urn:microsoft.com/office/officeart/2005/8/layout/pyramid1"/>
    <dgm:cxn modelId="{48DCD6D2-E5BA-C144-B79C-ADA2D967A512}" type="presParOf" srcId="{2D8220EC-6CBD-7142-9EED-A9406603F66D}" destId="{9595E17D-8451-1244-B236-E4D4EF6E52FF}" srcOrd="0" destOrd="0" presId="urn:microsoft.com/office/officeart/2005/8/layout/pyramid1"/>
    <dgm:cxn modelId="{1FF0B2B7-813E-4D4A-A485-C69FD97C61C3}" type="presParOf" srcId="{2D8220EC-6CBD-7142-9EED-A9406603F66D}" destId="{D1BC003F-46F3-E44C-8BC4-9F64782A02EE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D70811F9-74B0-9A43-882C-F4A67642534D}" type="doc">
      <dgm:prSet loTypeId="urn:microsoft.com/office/officeart/2005/8/layout/cycle2" loCatId="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nb-NO"/>
        </a:p>
      </dgm:t>
    </dgm:pt>
    <dgm:pt modelId="{648BEDC7-F32B-0A44-8087-198358711EDF}">
      <dgm:prSet phldrT="[Tekst]"/>
      <dgm:spPr/>
      <dgm:t>
        <a:bodyPr/>
        <a:lstStyle/>
        <a:p>
          <a:r>
            <a:rPr lang="nb-NO" dirty="0" err="1"/>
            <a:t>Build</a:t>
          </a:r>
          <a:endParaRPr lang="nb-NO" dirty="0"/>
        </a:p>
      </dgm:t>
    </dgm:pt>
    <dgm:pt modelId="{92771CA6-2595-6146-8D33-5B3338CABDE0}" type="parTrans" cxnId="{78F1A9AA-D77A-C14E-A8D5-9D53E610AF05}">
      <dgm:prSet/>
      <dgm:spPr/>
      <dgm:t>
        <a:bodyPr/>
        <a:lstStyle/>
        <a:p>
          <a:endParaRPr lang="nb-NO"/>
        </a:p>
      </dgm:t>
    </dgm:pt>
    <dgm:pt modelId="{F8754F44-DF72-C840-A416-AFA1C46D3CB5}" type="sibTrans" cxnId="{78F1A9AA-D77A-C14E-A8D5-9D53E610AF05}">
      <dgm:prSet/>
      <dgm:spPr/>
      <dgm:t>
        <a:bodyPr/>
        <a:lstStyle/>
        <a:p>
          <a:endParaRPr lang="nb-NO"/>
        </a:p>
      </dgm:t>
    </dgm:pt>
    <dgm:pt modelId="{492D8EE4-2E1C-C24F-8671-FD80A7F49786}">
      <dgm:prSet phldrT="[Tekst]"/>
      <dgm:spPr/>
      <dgm:t>
        <a:bodyPr/>
        <a:lstStyle/>
        <a:p>
          <a:r>
            <a:rPr lang="nb-NO" dirty="0" err="1"/>
            <a:t>Measure</a:t>
          </a:r>
          <a:endParaRPr lang="nb-NO" dirty="0"/>
        </a:p>
      </dgm:t>
    </dgm:pt>
    <dgm:pt modelId="{176B7138-BA4B-2A45-A47D-37018910779B}" type="parTrans" cxnId="{F7581A74-614B-6340-81A2-808D3771F970}">
      <dgm:prSet/>
      <dgm:spPr/>
      <dgm:t>
        <a:bodyPr/>
        <a:lstStyle/>
        <a:p>
          <a:endParaRPr lang="nb-NO"/>
        </a:p>
      </dgm:t>
    </dgm:pt>
    <dgm:pt modelId="{FAFA5F26-F918-B44A-B6DA-D4D8085C93CA}" type="sibTrans" cxnId="{F7581A74-614B-6340-81A2-808D3771F970}">
      <dgm:prSet/>
      <dgm:spPr/>
      <dgm:t>
        <a:bodyPr/>
        <a:lstStyle/>
        <a:p>
          <a:endParaRPr lang="nb-NO"/>
        </a:p>
      </dgm:t>
    </dgm:pt>
    <dgm:pt modelId="{EE754348-2DBE-0742-9F3B-B76FE1C92CEC}">
      <dgm:prSet phldrT="[Tekst]"/>
      <dgm:spPr/>
      <dgm:t>
        <a:bodyPr/>
        <a:lstStyle/>
        <a:p>
          <a:r>
            <a:rPr lang="nb-NO" dirty="0" err="1"/>
            <a:t>Learn</a:t>
          </a:r>
          <a:endParaRPr lang="nb-NO" dirty="0"/>
        </a:p>
      </dgm:t>
    </dgm:pt>
    <dgm:pt modelId="{D22ADC76-9E52-B24D-B5C2-B1677568BA59}" type="parTrans" cxnId="{E19F59F9-73C7-D24E-A723-66832B36011B}">
      <dgm:prSet/>
      <dgm:spPr/>
      <dgm:t>
        <a:bodyPr/>
        <a:lstStyle/>
        <a:p>
          <a:endParaRPr lang="nb-NO"/>
        </a:p>
      </dgm:t>
    </dgm:pt>
    <dgm:pt modelId="{D127C762-F86D-144D-BE80-84F437BE5FCF}" type="sibTrans" cxnId="{E19F59F9-73C7-D24E-A723-66832B36011B}">
      <dgm:prSet/>
      <dgm:spPr/>
      <dgm:t>
        <a:bodyPr/>
        <a:lstStyle/>
        <a:p>
          <a:endParaRPr lang="nb-NO"/>
        </a:p>
      </dgm:t>
    </dgm:pt>
    <dgm:pt modelId="{E5F66DD7-C396-CF44-96E1-D37C5DB17569}" type="pres">
      <dgm:prSet presAssocID="{D70811F9-74B0-9A43-882C-F4A67642534D}" presName="cycle" presStyleCnt="0">
        <dgm:presLayoutVars>
          <dgm:dir/>
          <dgm:resizeHandles val="exact"/>
        </dgm:presLayoutVars>
      </dgm:prSet>
      <dgm:spPr/>
    </dgm:pt>
    <dgm:pt modelId="{04D3F47F-915D-7446-85B6-B61127539D5A}" type="pres">
      <dgm:prSet presAssocID="{648BEDC7-F32B-0A44-8087-198358711EDF}" presName="node" presStyleLbl="node1" presStyleIdx="0" presStyleCnt="3">
        <dgm:presLayoutVars>
          <dgm:bulletEnabled val="1"/>
        </dgm:presLayoutVars>
      </dgm:prSet>
      <dgm:spPr/>
    </dgm:pt>
    <dgm:pt modelId="{3C7503AC-3426-7A46-8350-34361D3632E9}" type="pres">
      <dgm:prSet presAssocID="{F8754F44-DF72-C840-A416-AFA1C46D3CB5}" presName="sibTrans" presStyleLbl="sibTrans2D1" presStyleIdx="0" presStyleCnt="3"/>
      <dgm:spPr/>
    </dgm:pt>
    <dgm:pt modelId="{B745860B-2845-2A45-92F7-EE7F4A9EF13F}" type="pres">
      <dgm:prSet presAssocID="{F8754F44-DF72-C840-A416-AFA1C46D3CB5}" presName="connectorText" presStyleLbl="sibTrans2D1" presStyleIdx="0" presStyleCnt="3"/>
      <dgm:spPr/>
    </dgm:pt>
    <dgm:pt modelId="{F179758D-C74F-FF4A-9D8E-3B0F30A889BB}" type="pres">
      <dgm:prSet presAssocID="{492D8EE4-2E1C-C24F-8671-FD80A7F49786}" presName="node" presStyleLbl="node1" presStyleIdx="1" presStyleCnt="3">
        <dgm:presLayoutVars>
          <dgm:bulletEnabled val="1"/>
        </dgm:presLayoutVars>
      </dgm:prSet>
      <dgm:spPr/>
    </dgm:pt>
    <dgm:pt modelId="{004FB292-97B6-4441-8D6D-A2AD090ACAC6}" type="pres">
      <dgm:prSet presAssocID="{FAFA5F26-F918-B44A-B6DA-D4D8085C93CA}" presName="sibTrans" presStyleLbl="sibTrans2D1" presStyleIdx="1" presStyleCnt="3"/>
      <dgm:spPr/>
    </dgm:pt>
    <dgm:pt modelId="{28C315BC-32C8-C747-AF7E-91A3C308481E}" type="pres">
      <dgm:prSet presAssocID="{FAFA5F26-F918-B44A-B6DA-D4D8085C93CA}" presName="connectorText" presStyleLbl="sibTrans2D1" presStyleIdx="1" presStyleCnt="3"/>
      <dgm:spPr/>
    </dgm:pt>
    <dgm:pt modelId="{B72A7FAB-BF05-4E40-B49E-8EE4B85D2E3E}" type="pres">
      <dgm:prSet presAssocID="{EE754348-2DBE-0742-9F3B-B76FE1C92CEC}" presName="node" presStyleLbl="node1" presStyleIdx="2" presStyleCnt="3">
        <dgm:presLayoutVars>
          <dgm:bulletEnabled val="1"/>
        </dgm:presLayoutVars>
      </dgm:prSet>
      <dgm:spPr/>
    </dgm:pt>
    <dgm:pt modelId="{65D6C9B1-7D05-3F42-827D-4F60F13A5050}" type="pres">
      <dgm:prSet presAssocID="{D127C762-F86D-144D-BE80-84F437BE5FCF}" presName="sibTrans" presStyleLbl="sibTrans2D1" presStyleIdx="2" presStyleCnt="3"/>
      <dgm:spPr/>
    </dgm:pt>
    <dgm:pt modelId="{A022AFE4-C67A-6243-B18F-FCD5878D2C33}" type="pres">
      <dgm:prSet presAssocID="{D127C762-F86D-144D-BE80-84F437BE5FCF}" presName="connectorText" presStyleLbl="sibTrans2D1" presStyleIdx="2" presStyleCnt="3"/>
      <dgm:spPr/>
    </dgm:pt>
  </dgm:ptLst>
  <dgm:cxnLst>
    <dgm:cxn modelId="{5E87D803-8075-FC41-8320-6545FC3EA053}" type="presOf" srcId="{D70811F9-74B0-9A43-882C-F4A67642534D}" destId="{E5F66DD7-C396-CF44-96E1-D37C5DB17569}" srcOrd="0" destOrd="0" presId="urn:microsoft.com/office/officeart/2005/8/layout/cycle2"/>
    <dgm:cxn modelId="{9989B607-51D0-7E4B-B70E-30E3FD0DFCD1}" type="presOf" srcId="{F8754F44-DF72-C840-A416-AFA1C46D3CB5}" destId="{3C7503AC-3426-7A46-8350-34361D3632E9}" srcOrd="0" destOrd="0" presId="urn:microsoft.com/office/officeart/2005/8/layout/cycle2"/>
    <dgm:cxn modelId="{68C7F807-CFBB-6E4E-AB7F-22856A832217}" type="presOf" srcId="{D127C762-F86D-144D-BE80-84F437BE5FCF}" destId="{A022AFE4-C67A-6243-B18F-FCD5878D2C33}" srcOrd="1" destOrd="0" presId="urn:microsoft.com/office/officeart/2005/8/layout/cycle2"/>
    <dgm:cxn modelId="{CA218E57-7A31-9543-A5EE-5E7F77E0D2C7}" type="presOf" srcId="{FAFA5F26-F918-B44A-B6DA-D4D8085C93CA}" destId="{004FB292-97B6-4441-8D6D-A2AD090ACAC6}" srcOrd="0" destOrd="0" presId="urn:microsoft.com/office/officeart/2005/8/layout/cycle2"/>
    <dgm:cxn modelId="{CCD14F72-3337-BA40-98F4-6F298064BDEB}" type="presOf" srcId="{492D8EE4-2E1C-C24F-8671-FD80A7F49786}" destId="{F179758D-C74F-FF4A-9D8E-3B0F30A889BB}" srcOrd="0" destOrd="0" presId="urn:microsoft.com/office/officeart/2005/8/layout/cycle2"/>
    <dgm:cxn modelId="{F7581A74-614B-6340-81A2-808D3771F970}" srcId="{D70811F9-74B0-9A43-882C-F4A67642534D}" destId="{492D8EE4-2E1C-C24F-8671-FD80A7F49786}" srcOrd="1" destOrd="0" parTransId="{176B7138-BA4B-2A45-A47D-37018910779B}" sibTransId="{FAFA5F26-F918-B44A-B6DA-D4D8085C93CA}"/>
    <dgm:cxn modelId="{F449C174-B62F-1448-A669-A8DBA68BB49F}" type="presOf" srcId="{F8754F44-DF72-C840-A416-AFA1C46D3CB5}" destId="{B745860B-2845-2A45-92F7-EE7F4A9EF13F}" srcOrd="1" destOrd="0" presId="urn:microsoft.com/office/officeart/2005/8/layout/cycle2"/>
    <dgm:cxn modelId="{75E12094-1782-E04D-AE6D-8E1663DE9F8A}" type="presOf" srcId="{EE754348-2DBE-0742-9F3B-B76FE1C92CEC}" destId="{B72A7FAB-BF05-4E40-B49E-8EE4B85D2E3E}" srcOrd="0" destOrd="0" presId="urn:microsoft.com/office/officeart/2005/8/layout/cycle2"/>
    <dgm:cxn modelId="{9500C19B-A227-F84F-99D3-04F4C66CE014}" type="presOf" srcId="{D127C762-F86D-144D-BE80-84F437BE5FCF}" destId="{65D6C9B1-7D05-3F42-827D-4F60F13A5050}" srcOrd="0" destOrd="0" presId="urn:microsoft.com/office/officeart/2005/8/layout/cycle2"/>
    <dgm:cxn modelId="{78F1A9AA-D77A-C14E-A8D5-9D53E610AF05}" srcId="{D70811F9-74B0-9A43-882C-F4A67642534D}" destId="{648BEDC7-F32B-0A44-8087-198358711EDF}" srcOrd="0" destOrd="0" parTransId="{92771CA6-2595-6146-8D33-5B3338CABDE0}" sibTransId="{F8754F44-DF72-C840-A416-AFA1C46D3CB5}"/>
    <dgm:cxn modelId="{C2AAA6D4-62FD-5B40-8F6A-A4F36C77CC9E}" type="presOf" srcId="{648BEDC7-F32B-0A44-8087-198358711EDF}" destId="{04D3F47F-915D-7446-85B6-B61127539D5A}" srcOrd="0" destOrd="0" presId="urn:microsoft.com/office/officeart/2005/8/layout/cycle2"/>
    <dgm:cxn modelId="{931517D7-B692-C145-9232-A0529B911FAE}" type="presOf" srcId="{FAFA5F26-F918-B44A-B6DA-D4D8085C93CA}" destId="{28C315BC-32C8-C747-AF7E-91A3C308481E}" srcOrd="1" destOrd="0" presId="urn:microsoft.com/office/officeart/2005/8/layout/cycle2"/>
    <dgm:cxn modelId="{E19F59F9-73C7-D24E-A723-66832B36011B}" srcId="{D70811F9-74B0-9A43-882C-F4A67642534D}" destId="{EE754348-2DBE-0742-9F3B-B76FE1C92CEC}" srcOrd="2" destOrd="0" parTransId="{D22ADC76-9E52-B24D-B5C2-B1677568BA59}" sibTransId="{D127C762-F86D-144D-BE80-84F437BE5FCF}"/>
    <dgm:cxn modelId="{8ACEE079-B480-404A-8BC3-8DDA2F50A125}" type="presParOf" srcId="{E5F66DD7-C396-CF44-96E1-D37C5DB17569}" destId="{04D3F47F-915D-7446-85B6-B61127539D5A}" srcOrd="0" destOrd="0" presId="urn:microsoft.com/office/officeart/2005/8/layout/cycle2"/>
    <dgm:cxn modelId="{51AA15C2-219A-E646-89D3-86A087C993E8}" type="presParOf" srcId="{E5F66DD7-C396-CF44-96E1-D37C5DB17569}" destId="{3C7503AC-3426-7A46-8350-34361D3632E9}" srcOrd="1" destOrd="0" presId="urn:microsoft.com/office/officeart/2005/8/layout/cycle2"/>
    <dgm:cxn modelId="{2F6C4BDB-A825-C446-B9A6-A2541B98572D}" type="presParOf" srcId="{3C7503AC-3426-7A46-8350-34361D3632E9}" destId="{B745860B-2845-2A45-92F7-EE7F4A9EF13F}" srcOrd="0" destOrd="0" presId="urn:microsoft.com/office/officeart/2005/8/layout/cycle2"/>
    <dgm:cxn modelId="{51EF1502-7269-9A41-B914-6A7120E67397}" type="presParOf" srcId="{E5F66DD7-C396-CF44-96E1-D37C5DB17569}" destId="{F179758D-C74F-FF4A-9D8E-3B0F30A889BB}" srcOrd="2" destOrd="0" presId="urn:microsoft.com/office/officeart/2005/8/layout/cycle2"/>
    <dgm:cxn modelId="{FC4F4EE9-43D1-E34C-B6B0-ED2A42EEEB35}" type="presParOf" srcId="{E5F66DD7-C396-CF44-96E1-D37C5DB17569}" destId="{004FB292-97B6-4441-8D6D-A2AD090ACAC6}" srcOrd="3" destOrd="0" presId="urn:microsoft.com/office/officeart/2005/8/layout/cycle2"/>
    <dgm:cxn modelId="{82511EA7-B132-7E4D-874C-86C92201D6D3}" type="presParOf" srcId="{004FB292-97B6-4441-8D6D-A2AD090ACAC6}" destId="{28C315BC-32C8-C747-AF7E-91A3C308481E}" srcOrd="0" destOrd="0" presId="urn:microsoft.com/office/officeart/2005/8/layout/cycle2"/>
    <dgm:cxn modelId="{4A924903-C775-5C43-AD4A-3B8F705FE20D}" type="presParOf" srcId="{E5F66DD7-C396-CF44-96E1-D37C5DB17569}" destId="{B72A7FAB-BF05-4E40-B49E-8EE4B85D2E3E}" srcOrd="4" destOrd="0" presId="urn:microsoft.com/office/officeart/2005/8/layout/cycle2"/>
    <dgm:cxn modelId="{D6BF9C51-181A-8047-81B3-D62C3B8C9A93}" type="presParOf" srcId="{E5F66DD7-C396-CF44-96E1-D37C5DB17569}" destId="{65D6C9B1-7D05-3F42-827D-4F60F13A5050}" srcOrd="5" destOrd="0" presId="urn:microsoft.com/office/officeart/2005/8/layout/cycle2"/>
    <dgm:cxn modelId="{CBE76C85-A61A-7142-A861-892C66537905}" type="presParOf" srcId="{65D6C9B1-7D05-3F42-827D-4F60F13A5050}" destId="{A022AFE4-C67A-6243-B18F-FCD5878D2C33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2E6E73-64A4-49C4-B247-1BA99E0932EC}">
      <dsp:nvSpPr>
        <dsp:cNvPr id="0" name=""/>
        <dsp:cNvSpPr/>
      </dsp:nvSpPr>
      <dsp:spPr>
        <a:xfrm>
          <a:off x="0" y="1048702"/>
          <a:ext cx="10793412" cy="1398270"/>
        </a:xfrm>
        <a:prstGeom prst="notchedRightArrow">
          <a:avLst/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452451D-078C-4622-A68E-4B02E5B700CE}">
      <dsp:nvSpPr>
        <dsp:cNvPr id="0" name=""/>
        <dsp:cNvSpPr/>
      </dsp:nvSpPr>
      <dsp:spPr>
        <a:xfrm>
          <a:off x="2668" y="0"/>
          <a:ext cx="1553397" cy="13982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0904" tIns="120904" rIns="120904" bIns="120904" numCol="1" spcCol="1270" anchor="b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700" kern="1200" dirty="0"/>
            <a:t>Ide</a:t>
          </a:r>
        </a:p>
      </dsp:txBody>
      <dsp:txXfrm>
        <a:off x="2668" y="0"/>
        <a:ext cx="1553397" cy="1398270"/>
      </dsp:txXfrm>
    </dsp:sp>
    <dsp:sp modelId="{173BABF6-0595-4679-AF5A-3FE95CA16375}">
      <dsp:nvSpPr>
        <dsp:cNvPr id="0" name=""/>
        <dsp:cNvSpPr/>
      </dsp:nvSpPr>
      <dsp:spPr>
        <a:xfrm>
          <a:off x="604583" y="1573053"/>
          <a:ext cx="349567" cy="349567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40256C5-980F-411F-B090-C5F80D866635}">
      <dsp:nvSpPr>
        <dsp:cNvPr id="0" name=""/>
        <dsp:cNvSpPr/>
      </dsp:nvSpPr>
      <dsp:spPr>
        <a:xfrm>
          <a:off x="1633735" y="2097405"/>
          <a:ext cx="1553397" cy="13982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0904" tIns="120904" rIns="120904" bIns="120904" numCol="1" spcCol="1270" anchor="t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700" kern="1200" dirty="0">
              <a:latin typeface="+mn-lt"/>
            </a:rPr>
            <a:t>Finansering sikret</a:t>
          </a:r>
          <a:endParaRPr lang="nb-NO" sz="1700" kern="1200" dirty="0"/>
        </a:p>
      </dsp:txBody>
      <dsp:txXfrm>
        <a:off x="1633735" y="2097405"/>
        <a:ext cx="1553397" cy="1398270"/>
      </dsp:txXfrm>
    </dsp:sp>
    <dsp:sp modelId="{AE91A418-CAA6-4D68-B4CF-DB9238D05886}">
      <dsp:nvSpPr>
        <dsp:cNvPr id="0" name=""/>
        <dsp:cNvSpPr/>
      </dsp:nvSpPr>
      <dsp:spPr>
        <a:xfrm>
          <a:off x="2235650" y="1573053"/>
          <a:ext cx="349567" cy="349567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027F1B0-4AAF-405D-B763-7D33A0A90757}">
      <dsp:nvSpPr>
        <dsp:cNvPr id="0" name=""/>
        <dsp:cNvSpPr/>
      </dsp:nvSpPr>
      <dsp:spPr>
        <a:xfrm>
          <a:off x="3264802" y="0"/>
          <a:ext cx="1553397" cy="13982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0904" tIns="120904" rIns="120904" bIns="120904" numCol="1" spcCol="1270" anchor="b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lang="en-US" sz="1700" i="0" kern="1200" dirty="0" err="1"/>
            <a:t>Utviklings</a:t>
          </a:r>
          <a:r>
            <a:rPr lang="en-US" sz="1700" i="0" kern="1200" dirty="0"/>
            <a:t>- team samlet</a:t>
          </a:r>
          <a:endParaRPr lang="nb-NO" sz="1700" kern="1200" dirty="0"/>
        </a:p>
      </dsp:txBody>
      <dsp:txXfrm>
        <a:off x="3264802" y="0"/>
        <a:ext cx="1553397" cy="1398270"/>
      </dsp:txXfrm>
    </dsp:sp>
    <dsp:sp modelId="{F457BBA2-0358-4929-AA5A-7F7700A31C2C}">
      <dsp:nvSpPr>
        <dsp:cNvPr id="0" name=""/>
        <dsp:cNvSpPr/>
      </dsp:nvSpPr>
      <dsp:spPr>
        <a:xfrm>
          <a:off x="3866717" y="1573053"/>
          <a:ext cx="349567" cy="349567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23C771F-1510-4250-9327-AAC9E90F67A4}">
      <dsp:nvSpPr>
        <dsp:cNvPr id="0" name=""/>
        <dsp:cNvSpPr/>
      </dsp:nvSpPr>
      <dsp:spPr>
        <a:xfrm>
          <a:off x="4895870" y="2097405"/>
          <a:ext cx="1553397" cy="13982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0904" tIns="120904" rIns="120904" bIns="120904" numCol="1" spcCol="1270" anchor="t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lang="en-US" sz="1700" i="0" kern="1200" dirty="0" err="1"/>
            <a:t>Presentert</a:t>
          </a:r>
          <a:r>
            <a:rPr lang="en-US" sz="1700" i="0" kern="1200" dirty="0"/>
            <a:t> </a:t>
          </a:r>
          <a:r>
            <a:rPr lang="en-US" sz="1700" i="0" kern="1200" dirty="0" err="1"/>
            <a:t>konsept</a:t>
          </a:r>
          <a:r>
            <a:rPr lang="en-US" sz="1700" i="0" kern="1200" dirty="0"/>
            <a:t> </a:t>
          </a:r>
          <a:r>
            <a:rPr lang="en-US" sz="1700" i="0" kern="1200" dirty="0" err="1"/>
            <a:t>til</a:t>
          </a:r>
          <a:r>
            <a:rPr lang="en-US" sz="1700" i="0" kern="1200" dirty="0"/>
            <a:t> </a:t>
          </a:r>
          <a:r>
            <a:rPr lang="en-US" sz="1700" i="0" kern="1200" dirty="0" err="1"/>
            <a:t>divisjonens</a:t>
          </a:r>
          <a:r>
            <a:rPr lang="en-US" sz="1700" i="0" kern="1200" dirty="0"/>
            <a:t> </a:t>
          </a:r>
          <a:r>
            <a:rPr lang="en-US" sz="1700" i="0" kern="1200" dirty="0" err="1"/>
            <a:t>ledergruppe</a:t>
          </a:r>
          <a:endParaRPr lang="nb-NO" sz="1700" kern="1200" dirty="0"/>
        </a:p>
      </dsp:txBody>
      <dsp:txXfrm>
        <a:off x="4895870" y="2097405"/>
        <a:ext cx="1553397" cy="1398270"/>
      </dsp:txXfrm>
    </dsp:sp>
    <dsp:sp modelId="{3654EF6E-3A9F-42E8-9400-1F2835807B9F}">
      <dsp:nvSpPr>
        <dsp:cNvPr id="0" name=""/>
        <dsp:cNvSpPr/>
      </dsp:nvSpPr>
      <dsp:spPr>
        <a:xfrm>
          <a:off x="5497785" y="1573053"/>
          <a:ext cx="349567" cy="349567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D10F3A6-9408-0541-80A0-CD54413C44D5}">
      <dsp:nvSpPr>
        <dsp:cNvPr id="0" name=""/>
        <dsp:cNvSpPr/>
      </dsp:nvSpPr>
      <dsp:spPr>
        <a:xfrm>
          <a:off x="6526937" y="0"/>
          <a:ext cx="1553397" cy="13982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0904" tIns="120904" rIns="120904" bIns="120904" numCol="1" spcCol="1270" anchor="b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lang="nb-NO" sz="1700" kern="1200"/>
            <a:t>Sprint</a:t>
          </a:r>
        </a:p>
      </dsp:txBody>
      <dsp:txXfrm>
        <a:off x="6526937" y="0"/>
        <a:ext cx="1553397" cy="1398270"/>
      </dsp:txXfrm>
    </dsp:sp>
    <dsp:sp modelId="{7CAFB553-6376-AE4C-B6D2-C17A8907DA9D}">
      <dsp:nvSpPr>
        <dsp:cNvPr id="0" name=""/>
        <dsp:cNvSpPr/>
      </dsp:nvSpPr>
      <dsp:spPr>
        <a:xfrm>
          <a:off x="7128852" y="1573053"/>
          <a:ext cx="349567" cy="349567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ADE62F8-115D-B240-BB39-75E81BB49C36}">
      <dsp:nvSpPr>
        <dsp:cNvPr id="0" name=""/>
        <dsp:cNvSpPr/>
      </dsp:nvSpPr>
      <dsp:spPr>
        <a:xfrm>
          <a:off x="8158005" y="2097405"/>
          <a:ext cx="1553397" cy="13982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0904" tIns="120904" rIns="120904" bIns="120904" numCol="1" spcCol="1270" anchor="t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lang="nb-NO" sz="1700" kern="1200" dirty="0"/>
            <a:t>MVP</a:t>
          </a:r>
        </a:p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lang="nb-NO" sz="1700" kern="1200" dirty="0"/>
            <a:t>Demo</a:t>
          </a:r>
        </a:p>
      </dsp:txBody>
      <dsp:txXfrm>
        <a:off x="8158005" y="2097405"/>
        <a:ext cx="1553397" cy="1398270"/>
      </dsp:txXfrm>
    </dsp:sp>
    <dsp:sp modelId="{B32B3247-78C4-944A-83DD-59E085022583}">
      <dsp:nvSpPr>
        <dsp:cNvPr id="0" name=""/>
        <dsp:cNvSpPr/>
      </dsp:nvSpPr>
      <dsp:spPr>
        <a:xfrm>
          <a:off x="8759920" y="1573053"/>
          <a:ext cx="349567" cy="349567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D1750E1-9AF0-EA46-A500-3002E257B91C}">
      <dsp:nvSpPr>
        <dsp:cNvPr id="0" name=""/>
        <dsp:cNvSpPr/>
      </dsp:nvSpPr>
      <dsp:spPr>
        <a:xfrm>
          <a:off x="1017058" y="0"/>
          <a:ext cx="1645445" cy="1904961"/>
        </a:xfrm>
        <a:prstGeom prst="trapezoid">
          <a:avLst>
            <a:gd name="adj" fmla="val 5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2000" kern="1200" dirty="0">
            <a:solidFill>
              <a:schemeClr val="bg1"/>
            </a:solidFill>
          </a:endParaRP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000" kern="1200" dirty="0">
              <a:solidFill>
                <a:schemeClr val="bg1"/>
              </a:solidFill>
            </a:rPr>
            <a:t>Great 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000" kern="1200" dirty="0">
              <a:solidFill>
                <a:schemeClr val="bg1"/>
              </a:solidFill>
            </a:rPr>
            <a:t>design</a:t>
          </a:r>
        </a:p>
      </dsp:txBody>
      <dsp:txXfrm>
        <a:off x="1017058" y="0"/>
        <a:ext cx="1645445" cy="1904961"/>
      </dsp:txXfrm>
    </dsp:sp>
    <dsp:sp modelId="{631191AE-6915-6E42-978F-C8D2A3E7BA42}">
      <dsp:nvSpPr>
        <dsp:cNvPr id="0" name=""/>
        <dsp:cNvSpPr/>
      </dsp:nvSpPr>
      <dsp:spPr>
        <a:xfrm>
          <a:off x="679001" y="1904961"/>
          <a:ext cx="2321559" cy="782748"/>
        </a:xfrm>
        <a:prstGeom prst="trapezoid">
          <a:avLst>
            <a:gd name="adj" fmla="val 43188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000" kern="1200" dirty="0" err="1">
              <a:solidFill>
                <a:schemeClr val="bg1"/>
              </a:solidFill>
            </a:rPr>
            <a:t>Usable</a:t>
          </a:r>
          <a:endParaRPr lang="nb-NO" sz="2000" kern="1200" dirty="0">
            <a:solidFill>
              <a:schemeClr val="bg1"/>
            </a:solidFill>
          </a:endParaRPr>
        </a:p>
      </dsp:txBody>
      <dsp:txXfrm>
        <a:off x="1085274" y="1904961"/>
        <a:ext cx="1509013" cy="782748"/>
      </dsp:txXfrm>
    </dsp:sp>
    <dsp:sp modelId="{C7619ADC-E0C8-EE49-B7FE-771D7232196F}">
      <dsp:nvSpPr>
        <dsp:cNvPr id="0" name=""/>
        <dsp:cNvSpPr/>
      </dsp:nvSpPr>
      <dsp:spPr>
        <a:xfrm>
          <a:off x="342367" y="2687710"/>
          <a:ext cx="2994826" cy="779453"/>
        </a:xfrm>
        <a:prstGeom prst="trapezoid">
          <a:avLst>
            <a:gd name="adj" fmla="val 43188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000" kern="1200" dirty="0">
              <a:solidFill>
                <a:schemeClr val="bg1"/>
              </a:solidFill>
            </a:rPr>
            <a:t>Reliable</a:t>
          </a:r>
        </a:p>
      </dsp:txBody>
      <dsp:txXfrm>
        <a:off x="866462" y="2687710"/>
        <a:ext cx="1946637" cy="779453"/>
      </dsp:txXfrm>
    </dsp:sp>
    <dsp:sp modelId="{9595E17D-8451-1244-B236-E4D4EF6E52FF}">
      <dsp:nvSpPr>
        <dsp:cNvPr id="0" name=""/>
        <dsp:cNvSpPr/>
      </dsp:nvSpPr>
      <dsp:spPr>
        <a:xfrm>
          <a:off x="0" y="3467163"/>
          <a:ext cx="3679562" cy="792730"/>
        </a:xfrm>
        <a:prstGeom prst="trapezoid">
          <a:avLst>
            <a:gd name="adj" fmla="val 43188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000" kern="1200" dirty="0" err="1">
              <a:solidFill>
                <a:schemeClr val="bg1"/>
              </a:solidFill>
            </a:rPr>
            <a:t>Functional</a:t>
          </a:r>
          <a:endParaRPr lang="nb-NO" sz="2000" kern="1200" dirty="0">
            <a:solidFill>
              <a:schemeClr val="bg1"/>
            </a:solidFill>
          </a:endParaRPr>
        </a:p>
      </dsp:txBody>
      <dsp:txXfrm>
        <a:off x="643923" y="3467163"/>
        <a:ext cx="2391715" cy="79273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D1750E1-9AF0-EA46-A500-3002E257B91C}">
      <dsp:nvSpPr>
        <dsp:cNvPr id="0" name=""/>
        <dsp:cNvSpPr/>
      </dsp:nvSpPr>
      <dsp:spPr>
        <a:xfrm>
          <a:off x="1017058" y="0"/>
          <a:ext cx="1645445" cy="1904961"/>
        </a:xfrm>
        <a:prstGeom prst="trapezoid">
          <a:avLst>
            <a:gd name="adj" fmla="val 5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2000" kern="1200" dirty="0">
            <a:solidFill>
              <a:schemeClr val="bg1"/>
            </a:solidFill>
          </a:endParaRP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000" kern="1200" dirty="0">
              <a:solidFill>
                <a:schemeClr val="bg1"/>
              </a:solidFill>
            </a:rPr>
            <a:t>Great 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000" kern="1200" dirty="0">
              <a:solidFill>
                <a:schemeClr val="bg1"/>
              </a:solidFill>
            </a:rPr>
            <a:t>design</a:t>
          </a:r>
        </a:p>
      </dsp:txBody>
      <dsp:txXfrm>
        <a:off x="1017058" y="0"/>
        <a:ext cx="1645445" cy="1904961"/>
      </dsp:txXfrm>
    </dsp:sp>
    <dsp:sp modelId="{631191AE-6915-6E42-978F-C8D2A3E7BA42}">
      <dsp:nvSpPr>
        <dsp:cNvPr id="0" name=""/>
        <dsp:cNvSpPr/>
      </dsp:nvSpPr>
      <dsp:spPr>
        <a:xfrm>
          <a:off x="679001" y="1904961"/>
          <a:ext cx="2321559" cy="782748"/>
        </a:xfrm>
        <a:prstGeom prst="trapezoid">
          <a:avLst>
            <a:gd name="adj" fmla="val 43188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000" kern="1200" dirty="0" err="1">
              <a:solidFill>
                <a:schemeClr val="bg1"/>
              </a:solidFill>
            </a:rPr>
            <a:t>Usable</a:t>
          </a:r>
          <a:endParaRPr lang="nb-NO" sz="2000" kern="1200" dirty="0">
            <a:solidFill>
              <a:schemeClr val="bg1"/>
            </a:solidFill>
          </a:endParaRPr>
        </a:p>
      </dsp:txBody>
      <dsp:txXfrm>
        <a:off x="1085274" y="1904961"/>
        <a:ext cx="1509013" cy="782748"/>
      </dsp:txXfrm>
    </dsp:sp>
    <dsp:sp modelId="{C7619ADC-E0C8-EE49-B7FE-771D7232196F}">
      <dsp:nvSpPr>
        <dsp:cNvPr id="0" name=""/>
        <dsp:cNvSpPr/>
      </dsp:nvSpPr>
      <dsp:spPr>
        <a:xfrm>
          <a:off x="342367" y="2687710"/>
          <a:ext cx="2994826" cy="779453"/>
        </a:xfrm>
        <a:prstGeom prst="trapezoid">
          <a:avLst>
            <a:gd name="adj" fmla="val 43188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000" kern="1200" dirty="0">
              <a:solidFill>
                <a:schemeClr val="bg1"/>
              </a:solidFill>
            </a:rPr>
            <a:t>Reliable</a:t>
          </a:r>
        </a:p>
      </dsp:txBody>
      <dsp:txXfrm>
        <a:off x="866462" y="2687710"/>
        <a:ext cx="1946637" cy="779453"/>
      </dsp:txXfrm>
    </dsp:sp>
    <dsp:sp modelId="{9595E17D-8451-1244-B236-E4D4EF6E52FF}">
      <dsp:nvSpPr>
        <dsp:cNvPr id="0" name=""/>
        <dsp:cNvSpPr/>
      </dsp:nvSpPr>
      <dsp:spPr>
        <a:xfrm>
          <a:off x="0" y="3467163"/>
          <a:ext cx="3679562" cy="792730"/>
        </a:xfrm>
        <a:prstGeom prst="trapezoid">
          <a:avLst>
            <a:gd name="adj" fmla="val 43188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000" kern="1200" dirty="0" err="1">
              <a:solidFill>
                <a:schemeClr val="bg1"/>
              </a:solidFill>
            </a:rPr>
            <a:t>Functional</a:t>
          </a:r>
          <a:endParaRPr lang="nb-NO" sz="2000" kern="1200" dirty="0">
            <a:solidFill>
              <a:schemeClr val="bg1"/>
            </a:solidFill>
          </a:endParaRPr>
        </a:p>
      </dsp:txBody>
      <dsp:txXfrm>
        <a:off x="643923" y="3467163"/>
        <a:ext cx="2391715" cy="79273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4D3F47F-915D-7446-85B6-B61127539D5A}">
      <dsp:nvSpPr>
        <dsp:cNvPr id="0" name=""/>
        <dsp:cNvSpPr/>
      </dsp:nvSpPr>
      <dsp:spPr>
        <a:xfrm>
          <a:off x="2516069" y="857"/>
          <a:ext cx="1838408" cy="1838408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500" kern="1200" dirty="0" err="1"/>
            <a:t>Build</a:t>
          </a:r>
          <a:endParaRPr lang="nb-NO" sz="2500" kern="1200" dirty="0"/>
        </a:p>
      </dsp:txBody>
      <dsp:txXfrm>
        <a:off x="2785298" y="270086"/>
        <a:ext cx="1299950" cy="1299950"/>
      </dsp:txXfrm>
    </dsp:sp>
    <dsp:sp modelId="{3C7503AC-3426-7A46-8350-34361D3632E9}">
      <dsp:nvSpPr>
        <dsp:cNvPr id="0" name=""/>
        <dsp:cNvSpPr/>
      </dsp:nvSpPr>
      <dsp:spPr>
        <a:xfrm rot="3600000">
          <a:off x="3874109" y="1793545"/>
          <a:ext cx="489164" cy="620462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2000" kern="1200"/>
        </a:p>
      </dsp:txBody>
      <dsp:txXfrm>
        <a:off x="3910796" y="1854093"/>
        <a:ext cx="342415" cy="372278"/>
      </dsp:txXfrm>
    </dsp:sp>
    <dsp:sp modelId="{F179758D-C74F-FF4A-9D8E-3B0F30A889BB}">
      <dsp:nvSpPr>
        <dsp:cNvPr id="0" name=""/>
        <dsp:cNvSpPr/>
      </dsp:nvSpPr>
      <dsp:spPr>
        <a:xfrm>
          <a:off x="3896750" y="2392266"/>
          <a:ext cx="1838408" cy="1838408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500" kern="1200" dirty="0" err="1"/>
            <a:t>Measure</a:t>
          </a:r>
          <a:endParaRPr lang="nb-NO" sz="2500" kern="1200" dirty="0"/>
        </a:p>
      </dsp:txBody>
      <dsp:txXfrm>
        <a:off x="4165979" y="2661495"/>
        <a:ext cx="1299950" cy="1299950"/>
      </dsp:txXfrm>
    </dsp:sp>
    <dsp:sp modelId="{004FB292-97B6-4441-8D6D-A2AD090ACAC6}">
      <dsp:nvSpPr>
        <dsp:cNvPr id="0" name=""/>
        <dsp:cNvSpPr/>
      </dsp:nvSpPr>
      <dsp:spPr>
        <a:xfrm rot="10800000">
          <a:off x="3204535" y="3001239"/>
          <a:ext cx="489164" cy="620462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2000" kern="1200"/>
        </a:p>
      </dsp:txBody>
      <dsp:txXfrm rot="10800000">
        <a:off x="3351284" y="3125331"/>
        <a:ext cx="342415" cy="372278"/>
      </dsp:txXfrm>
    </dsp:sp>
    <dsp:sp modelId="{B72A7FAB-BF05-4E40-B49E-8EE4B85D2E3E}">
      <dsp:nvSpPr>
        <dsp:cNvPr id="0" name=""/>
        <dsp:cNvSpPr/>
      </dsp:nvSpPr>
      <dsp:spPr>
        <a:xfrm>
          <a:off x="1135389" y="2392266"/>
          <a:ext cx="1838408" cy="1838408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500" kern="1200" dirty="0" err="1"/>
            <a:t>Learn</a:t>
          </a:r>
          <a:endParaRPr lang="nb-NO" sz="2500" kern="1200" dirty="0"/>
        </a:p>
      </dsp:txBody>
      <dsp:txXfrm>
        <a:off x="1404618" y="2661495"/>
        <a:ext cx="1299950" cy="1299950"/>
      </dsp:txXfrm>
    </dsp:sp>
    <dsp:sp modelId="{65D6C9B1-7D05-3F42-827D-4F60F13A5050}">
      <dsp:nvSpPr>
        <dsp:cNvPr id="0" name=""/>
        <dsp:cNvSpPr/>
      </dsp:nvSpPr>
      <dsp:spPr>
        <a:xfrm rot="18000000">
          <a:off x="2493429" y="1817524"/>
          <a:ext cx="489164" cy="620462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2000" kern="1200"/>
        </a:p>
      </dsp:txBody>
      <dsp:txXfrm>
        <a:off x="2530116" y="2005160"/>
        <a:ext cx="342415" cy="37227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11">
  <dgm:title val=""/>
  <dgm:desc val=""/>
  <dgm:catLst>
    <dgm:cat type="process" pri="8000"/>
    <dgm:cat type="convert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l" for="ch" forName="arrow"/>
          <dgm:constr type="w" for="ch" forName="points" refType="w" fact="0.9"/>
          <dgm:constr type="h" for="ch" forName="points" refType="h"/>
          <dgm:constr type="t" for="ch" forName="points"/>
          <dgm:constr type="l" for="ch" forName="points"/>
        </dgm:constrLst>
      </dgm:if>
      <dgm:else name="Name3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r" for="ch" forName="arrow" refType="w"/>
          <dgm:constr type="w" for="ch" forName="points" refType="w" fact="0.9"/>
          <dgm:constr type="h" for="ch" forName="points" refType="h"/>
          <dgm:constr type="t" for="ch" forName="points"/>
          <dgm:constr type="r" for="ch" forName="points" refType="w"/>
        </dgm:constrLst>
      </dgm:else>
    </dgm:choose>
    <dgm:ruleLst/>
    <dgm:layoutNode name="arrow" styleLbl="bgShp">
      <dgm:alg type="sp"/>
      <dgm:choose name="Name4">
        <dgm:if name="Name5" func="var" arg="dir" op="equ" val="norm">
          <dgm:shape xmlns:r="http://schemas.openxmlformats.org/officeDocument/2006/relationships" type="notchedRightArrow" r:blip="">
            <dgm:adjLst/>
          </dgm:shape>
        </dgm:if>
        <dgm:else name="Name6">
          <dgm:shape xmlns:r="http://schemas.openxmlformats.org/officeDocument/2006/relationships" rot="180" type="notchedRightArrow" r:blip="">
            <dgm:adjLst/>
          </dgm:shape>
        </dgm:else>
      </dgm:choose>
      <dgm:presOf/>
      <dgm:constrLst/>
      <dgm:ruleLst/>
    </dgm:layoutNode>
    <dgm:layoutNode name="points">
      <dgm:choose name="Name7">
        <dgm:if name="Name8" func="var" arg="dir" op="equ" val="norm">
          <dgm:alg type="lin">
            <dgm:param type="linDir" val="fromL"/>
          </dgm:alg>
        </dgm:if>
        <dgm:else name="Name9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A" refType="w"/>
        <dgm:constr type="h" for="ch" forName="compositeA" refType="h"/>
        <dgm:constr type="w" for="ch" forName="compositeB" refType="w" refFor="ch" refForName="compositeA" op="equ"/>
        <dgm:constr type="h" for="ch" forName="compositeB" refType="h" refFor="ch" refForName="compositeA" op="equ"/>
        <dgm:constr type="primFontSz" for="des" ptType="node" op="equ" val="65"/>
        <dgm:constr type="w" for="ch" forName="space" refType="w" refFor="ch" refForName="compositeA" op="equ" fact="0.05"/>
      </dgm:constrLst>
      <dgm:ruleLst/>
      <dgm:forEach name="Name10" axis="ch" ptType="node">
        <dgm:choose name="Name11">
          <dgm:if name="Name12" axis="self" ptType="node" func="posOdd" op="equ" val="1">
            <dgm:layoutNode name="compositeA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A" refType="w"/>
                <dgm:constr type="h" for="ch" forName="textA" refType="h" fact="0.4"/>
                <dgm:constr type="t" for="ch" forName="textA"/>
                <dgm:constr type="l" for="ch" forName="textA"/>
                <dgm:constr type="h" for="ch" forName="circleA" refType="h" fact="0.1"/>
                <dgm:constr type="h" for="ch" forName="circleA" refType="w" op="lte"/>
                <dgm:constr type="w" for="ch" forName="circleA" refType="h" refFor="ch" refForName="circleA" op="equ"/>
                <dgm:constr type="ctrY" for="ch" forName="circleA" refType="h" fact="0.5"/>
                <dgm:constr type="ctrX" for="ch" forName="circleA" refType="w" refFor="ch" refForName="textA" fact="0.5"/>
                <dgm:constr type="w" for="ch" forName="spaceA" refType="w"/>
                <dgm:constr type="h" for="ch" forName="spaceA" refType="h" fact="0.4"/>
                <dgm:constr type="b" for="ch" forName="spaceA" refType="h"/>
                <dgm:constr type="l" for="ch" forName="spaceA"/>
              </dgm:constrLst>
              <dgm:ruleLst/>
              <dgm:layoutNode name="textA" styleLbl="revTx">
                <dgm:varLst>
                  <dgm:bulletEnabled val="1"/>
                </dgm:varLst>
                <dgm:alg type="tx">
                  <dgm:param type="txAnchorVert" val="b"/>
                  <dgm:param type="txAnchorVertCh" val="b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A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A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13">
            <dgm:layoutNode name="compositeB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B" refType="w"/>
                <dgm:constr type="h" for="ch" forName="textB" refType="h" fact="0.4"/>
                <dgm:constr type="b" for="ch" forName="textB" refType="h"/>
                <dgm:constr type="l" for="ch" forName="textB"/>
                <dgm:constr type="h" for="ch" forName="circleB" refType="h" fact="0.1"/>
                <dgm:constr type="w" for="ch" forName="circleB" refType="h" refFor="ch" refForName="circleB" op="equ"/>
                <dgm:constr type="h" for="ch" forName="circleB" refType="w" op="lte"/>
                <dgm:constr type="ctrY" for="ch" forName="circleB" refType="h" fact="0.5"/>
                <dgm:constr type="ctrX" for="ch" forName="circleB" refType="w" refFor="ch" refForName="textB" fact="0.5"/>
                <dgm:constr type="w" for="ch" forName="spaceB" refType="w"/>
                <dgm:constr type="h" for="ch" forName="spaceB" refType="h" fact="0.4"/>
                <dgm:constr type="t" for="ch" forName="spaceB"/>
                <dgm:constr type="l" for="ch" forName="spaceB"/>
              </dgm:constrLst>
              <dgm:ruleLst/>
              <dgm:layoutNode name="textB" styleLbl="revTx">
                <dgm:varLst>
                  <dgm:bulletEnabled val="1"/>
                </dgm:varLst>
                <dgm:alg type="tx">
                  <dgm:param type="txAnchorVert" val="t"/>
                  <dgm:param type="txAnchorVertCh" val="t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B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B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else>
        </dgm:choos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8382C0-1D05-4229-918E-CDD7B7E48B4A}" type="slidenum">
              <a:rPr lang="en-GB" smtClean="0"/>
              <a:t>‹#›</a:t>
            </a:fld>
            <a:endParaRPr lang="en-GB"/>
          </a:p>
        </p:txBody>
      </p:sp>
      <p:sp>
        <p:nvSpPr>
          <p:cNvPr id="8" name="Date Placeholder 7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F6AEEE-E778-402E-8B8F-9A98AED26EB8}" type="datetimeFigureOut">
              <a:rPr lang="en-GB" smtClean="0"/>
              <a:t>14/02/2024</a:t>
            </a:fld>
            <a:endParaRPr lang="en-GB"/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9-05T14:45:24.830"/>
    </inkml:context>
    <inkml:brush xml:id="br0">
      <inkml:brushProperty name="width" value="0.2" units="cm"/>
      <inkml:brushProperty name="height" value="0.2" units="cm"/>
      <inkml:brushProperty name="color" value="#E71224"/>
    </inkml:brush>
  </inkml:definitions>
  <inkml:trace contextRef="#ctx0" brushRef="#br0">1 0 24575,'21'0'0,"0"0"0,-4 0 0,4 4 0,3 2 0,18 20 0,11 12-3277,5 11 1850,-1 0 1427,-15-16 0,3 3 0,5 3 0,2 2 0,3 2 0,0 1 0,-3-3 0,-1 0 0,1 0 0,1 1 0,-1-1 0,5 4-1093,6 7 1,7 7 0,0 1 679,4 2 1,0 1 0,3 3-408,-12-9 1,0 2 0,2 2 0,2 1 728,-9-7 0,1 1 0,1 1 1,-1-1-1,-1-1-343,4 5 1,-1-1 0,-1-1 0,1 1 433,4 4 0,1 0 0,-1 1 0,-1 0 0,-2-2 0,-2 0 0,1 1 0,1 1-217,-8-7 1,0 1 0,1 2-1,0-1 1,0 1 216,0 0 0,0 1 0,-1 0 0,1 0 0,-2-1 0,11 13 0,0 0 0,-1-2 0,-3-2 0,-9-11 0,-2-1 0,-2-2 0,-2-1 0,5 4 0,-3-3 0,0 0 0,1-1 0,-1 0 0,1-2-207,-1-1 1,-1-1-1,0 0 207,20 21 0,1 1 304,-12-12 1,1 3 0,-3-2-305,7 8 0,-2 0 0,-12-13 0,2 1 0,-5-3 0,0 2 0,-2-3 0,1 1 0,2 4 0,-1-4 0,3 5 0,-2-2 0,12 13 0,0 0 0,-14-16 0,1 0 0,-4-5 0,-3-3 0,-3-5 821,-1-1 0,1 1-821,8 7 0,2 3 0,4 3 0,2 3 0,-7-8 0,2 2 0,-2-1 0,13 13 0,-2-1 0,0-1 0,-1-1 0,-4-5 0,-2-3 0,20 19 0,-4-5 0,-16-15 0,-8-8 0,-4-7 0,-5-8 0,-5-5 0,-3-3 0,-1-1 2791,1 0-2791,-1-1 0,-3 1 0,-1-1 0,-2 2 0,-1 2 0,3 0 0,1-1 0,8 6 0,6 7 2103,-3-1-2103,4 4 3276,3-5-834,18 15-2442,6 6-1672,-3-5 1672,-8-4 0,-16-16 832,5 1-832,0 0 0,9 7 0,4 4-466,3 8 466,-3 0 0,-1 2 0,-3-3 0,5 7 0,0-1 0,3 3 0,7 9 0,-24-21 0,11 9 0,-15-13 3276,0-2-2611,9 9-665,-4-3 0,-1-1 0,-3-5 0,-4-2 0,-4-5 0,4 4 0,0 1 0,17 17 0,-11-7 67,16 18-67,-10-9-963,1 2 963,6 6-1279,0 2 1279,8 8 0,-1-2 0,-2 1 0,-5-3 0,-12-16 0,3 4 0,-6-11 0,10 16 0,3 6 0,0-1 0,-5-6 456,-12-20-456,-12-15 0,-10-12 922,-5-7-922,-3-4 0,-2-2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9-05T14:45:29.577"/>
    </inkml:context>
    <inkml:brush xml:id="br0">
      <inkml:brushProperty name="width" value="0.2" units="cm"/>
      <inkml:brushProperty name="height" value="0.2" units="cm"/>
      <inkml:brushProperty name="color" value="#E71224"/>
    </inkml:brush>
  </inkml:definitions>
  <inkml:trace contextRef="#ctx0" brushRef="#br0">0 6283 24575,'36'-62'0,"1"0"0,-8 14 0,5-3 0,18-21 0,11-11 0,1 1-1093,-6 8 1,2 1 0,1-2 272,-9 11 1,1-1 0,2-2 0,1 0 163,-5 7 1,2-2-1,1 0 1,2-1 0,1 0 280,9-8 0,2-2 1,2 0-1,0 1 1,-1 2 69,-6 7 1,-2 1-1,1 2 1,1-2 0,3-1 304,-2 1 0,3-3 0,1-1 0,1 1 0,-2 1 0,-2 2-481,0 1 1,-2 3-1,-1 0 1,0 1-1,3-2 481,7-6 0,1-1 0,2 0 0,0-1 0,0 1-151,-2 1 0,0 0 0,1 1 0,0-1 0,1 1 151,-10 10 0,0-1 0,1 1 0,0 0 0,0 0 0,-1 1 0,12-10 0,0 0 0,-1 1 0,-1 2 0,-3 1 0,2-1 0,-2 3 0,-2 0 0,3-1 0,-10 9 0,2-2 0,-1 1 0,0 1 0,-2 2 0,2 0 0,-3 2 0,1 1 0,3-4 0,3-1 0,4-3 0,2-2 0,0 1 0,-1 1 0,-3 4 0,0-1 0,0 1 0,-1 1 0,0 1 0,11-9 0,-1 2 0,-2 0 0,-1 2 0,-9 5 0,-1 2 0,-3 1 0,-3 2 0,1 1 0,-4 3 0,-2-1 0,23-19 0,-3 2 0,-6 4 0,-3 3 0,-7 5 0,-1 1 355,13-8 0,-4 3-355,-25 18 0,-2 0 0,13-9 0,-4 1 0,-4 0 1931,-4 0-1931,-6 5 3161,-10 10-3161,-4 4 3276,-6 6-1649,-2 1 1649,-4 0-2488,-1 1 470,-2 4-1258,0-1 357,1 5-357,1-1 0,1 1 0,-3 2 0,0 0 0,-2 0 0,0 0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Notes Placeholder 7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/>
            </a:lvl1pPr>
          </a:lstStyle>
          <a:p>
            <a:fld id="{1386E511-D742-4EFE-90B5-C9FC42762E0F}" type="datetimeFigureOut">
              <a:rPr lang="en-GB" smtClean="0"/>
              <a:pPr/>
              <a:t>14/02/2024</a:t>
            </a:fld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/>
            </a:lvl1pPr>
          </a:lstStyle>
          <a:p>
            <a:endParaRPr lang="en-GB"/>
          </a:p>
        </p:txBody>
      </p:sp>
      <p:sp>
        <p:nvSpPr>
          <p:cNvPr id="12" name="Slide Image Placeholder 11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13" name="Header Placeholder 1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23685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6986894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867212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The </a:t>
            </a:r>
            <a:r>
              <a:rPr lang="nb-NO" dirty="0" err="1"/>
              <a:t>point</a:t>
            </a:r>
            <a:r>
              <a:rPr lang="nb-NO" dirty="0"/>
              <a:t> is </a:t>
            </a:r>
            <a:r>
              <a:rPr lang="nb-NO" dirty="0" err="1"/>
              <a:t>we</a:t>
            </a:r>
            <a:r>
              <a:rPr lang="nb-NO" dirty="0"/>
              <a:t> </a:t>
            </a:r>
            <a:r>
              <a:rPr lang="nb-NO" dirty="0" err="1"/>
              <a:t>don't</a:t>
            </a:r>
            <a:r>
              <a:rPr lang="nb-NO" dirty="0"/>
              <a:t> </a:t>
            </a:r>
            <a:r>
              <a:rPr lang="nb-NO" dirty="0" err="1"/>
              <a:t>manage</a:t>
            </a:r>
            <a:r>
              <a:rPr lang="nb-NO" dirty="0"/>
              <a:t> or </a:t>
            </a:r>
            <a:r>
              <a:rPr lang="nb-NO" dirty="0" err="1"/>
              <a:t>own</a:t>
            </a:r>
            <a:r>
              <a:rPr lang="nb-NO" dirty="0"/>
              <a:t> </a:t>
            </a:r>
            <a:r>
              <a:rPr lang="nb-NO" dirty="0" err="1"/>
              <a:t>any</a:t>
            </a:r>
            <a:r>
              <a:rPr lang="nb-NO" dirty="0"/>
              <a:t> </a:t>
            </a:r>
            <a:r>
              <a:rPr lang="nb-NO" dirty="0" err="1"/>
              <a:t>solutions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180275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583210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53181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sz="1800" b="0" i="0" u="none" strike="noStrike" baseline="0" dirty="0" err="1">
                <a:latin typeface="Calibri" panose="020F0502020204030204" pitchFamily="34" charset="0"/>
              </a:rPr>
              <a:t>Remember</a:t>
            </a:r>
            <a:r>
              <a:rPr lang="nb-NO" sz="1800" b="0" i="0" u="none" strike="noStrike" baseline="0" dirty="0">
                <a:latin typeface="Calibri" panose="020F0502020204030204" pitchFamily="34" charset="0"/>
              </a:rPr>
              <a:t> </a:t>
            </a:r>
            <a:r>
              <a:rPr lang="nb-NO" sz="1800" b="0" i="0" u="none" strike="noStrike" baseline="0" dirty="0" err="1">
                <a:latin typeface="Calibri" panose="020F0502020204030204" pitchFamily="34" charset="0"/>
              </a:rPr>
              <a:t>our</a:t>
            </a:r>
            <a:r>
              <a:rPr lang="nb-NO" sz="1800" b="0" i="0" u="none" strike="noStrike" baseline="0" dirty="0">
                <a:latin typeface="Calibri" panose="020F0502020204030204" pitchFamily="34" charset="0"/>
              </a:rPr>
              <a:t> </a:t>
            </a:r>
            <a:r>
              <a:rPr lang="nb-NO" sz="1800" b="0" i="0" u="none" strike="noStrike" baseline="0" dirty="0" err="1">
                <a:latin typeface="Calibri" panose="020F0502020204030204" pitchFamily="34" charset="0"/>
              </a:rPr>
              <a:t>customer</a:t>
            </a:r>
            <a:r>
              <a:rPr lang="nb-NO" sz="1800" b="0" i="0" u="none" strike="noStrike" baseline="0" dirty="0">
                <a:latin typeface="Calibri" panose="020F0502020204030204" pitchFamily="34" charset="0"/>
              </a:rPr>
              <a:t> </a:t>
            </a:r>
            <a:r>
              <a:rPr lang="nb-NO" sz="1800" b="0" i="0" u="none" strike="noStrike" baseline="0" dirty="0" err="1">
                <a:latin typeface="Calibri" panose="020F0502020204030204" pitchFamily="34" charset="0"/>
              </a:rPr>
              <a:t>journey</a:t>
            </a:r>
            <a:r>
              <a:rPr lang="nb-NO" sz="1800" b="0" i="0" u="none" strike="noStrike" baseline="0" dirty="0">
                <a:latin typeface="Calibri" panose="020F0502020204030204" pitchFamily="34" charset="0"/>
              </a:rPr>
              <a:t>.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86549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sz="1800" b="0" i="0" u="none" strike="noStrike" baseline="0" dirty="0" err="1">
                <a:latin typeface="Calibri" panose="020F0502020204030204" pitchFamily="34" charset="0"/>
              </a:rPr>
              <a:t>We</a:t>
            </a:r>
            <a:r>
              <a:rPr lang="nb-NO" sz="1800" b="0" i="0" u="none" strike="noStrike" baseline="0" dirty="0">
                <a:latin typeface="Calibri" panose="020F0502020204030204" pitchFamily="34" charset="0"/>
              </a:rPr>
              <a:t> </a:t>
            </a:r>
            <a:r>
              <a:rPr lang="nb-NO" sz="1800" b="0" i="0" u="none" strike="noStrike" baseline="0" dirty="0" err="1">
                <a:latin typeface="Calibri" panose="020F0502020204030204" pitchFamily="34" charset="0"/>
              </a:rPr>
              <a:t>use</a:t>
            </a:r>
            <a:r>
              <a:rPr lang="nb-NO" sz="1800" b="0" i="0" u="none" strike="noStrike" baseline="0" dirty="0">
                <a:latin typeface="Calibri" panose="020F0502020204030204" pitchFamily="34" charset="0"/>
              </a:rPr>
              <a:t> data </a:t>
            </a:r>
            <a:r>
              <a:rPr lang="nb-NO" sz="1800" b="0" i="0" u="none" strike="noStrike" baseline="0" dirty="0" err="1">
                <a:latin typeface="Calibri" panose="020F0502020204030204" pitchFamily="34" charset="0"/>
              </a:rPr>
              <a:t>absolutely</a:t>
            </a:r>
            <a:r>
              <a:rPr lang="nb-NO" sz="1800" b="0" i="0" u="none" strike="noStrike" baseline="0" dirty="0">
                <a:latin typeface="Calibri" panose="020F0502020204030204" pitchFamily="34" charset="0"/>
              </a:rPr>
              <a:t> </a:t>
            </a:r>
            <a:r>
              <a:rPr lang="nb-NO" sz="1800" b="0" i="0" u="none" strike="noStrike" baseline="0" dirty="0" err="1">
                <a:latin typeface="Calibri" panose="020F0502020204030204" pitchFamily="34" charset="0"/>
              </a:rPr>
              <a:t>everywhere</a:t>
            </a:r>
            <a:r>
              <a:rPr lang="nb-NO" sz="1800" b="0" i="0" u="none" strike="noStrike" baseline="0" dirty="0">
                <a:latin typeface="Calibri" panose="020F0502020204030204" pitchFamily="34" charset="0"/>
              </a:rPr>
              <a:t>. </a:t>
            </a:r>
          </a:p>
          <a:p>
            <a:endParaRPr lang="nb-NO" sz="1800" b="0" i="0" u="none" strike="noStrike" baseline="0" dirty="0">
              <a:latin typeface="Calibri" panose="020F0502020204030204" pitchFamily="34" charset="0"/>
            </a:endParaRPr>
          </a:p>
          <a:p>
            <a:r>
              <a:rPr lang="nb-NO" sz="1800" b="0" i="0" u="none" strike="noStrike" baseline="0" dirty="0">
                <a:latin typeface="Calibri" panose="020F0502020204030204" pitchFamily="34" charset="0"/>
              </a:rPr>
              <a:t>And </a:t>
            </a:r>
            <a:r>
              <a:rPr lang="nb-NO" sz="1800" b="0" i="0" u="none" strike="noStrike" baseline="0" dirty="0" err="1">
                <a:latin typeface="Calibri" panose="020F0502020204030204" pitchFamily="34" charset="0"/>
              </a:rPr>
              <a:t>we’re</a:t>
            </a:r>
            <a:r>
              <a:rPr lang="nb-NO" sz="1800" b="0" i="0" u="none" strike="noStrike" baseline="0" dirty="0">
                <a:latin typeface="Calibri" panose="020F0502020204030204" pitchFamily="34" charset="0"/>
              </a:rPr>
              <a:t> a team </a:t>
            </a:r>
            <a:r>
              <a:rPr lang="nb-NO" sz="1800" b="0" i="0" u="none" strike="noStrike" baseline="0" dirty="0" err="1">
                <a:latin typeface="Calibri" panose="020F0502020204030204" pitchFamily="34" charset="0"/>
              </a:rPr>
              <a:t>of</a:t>
            </a:r>
            <a:r>
              <a:rPr lang="nb-NO" sz="1800" b="0" i="0" u="none" strike="noStrike" baseline="0" dirty="0">
                <a:latin typeface="Calibri" panose="020F0502020204030204" pitchFamily="34" charset="0"/>
              </a:rPr>
              <a:t> 7. And &gt; 20 </a:t>
            </a:r>
            <a:r>
              <a:rPr lang="nb-NO" sz="1800" b="0" i="0" u="none" strike="noStrike" baseline="0" dirty="0" err="1">
                <a:latin typeface="Calibri" panose="020F0502020204030204" pitchFamily="34" charset="0"/>
              </a:rPr>
              <a:t>analyst</a:t>
            </a:r>
            <a:r>
              <a:rPr lang="nb-NO" sz="1800" b="0" i="0" u="none" strike="noStrike" baseline="0" dirty="0">
                <a:latin typeface="Calibri" panose="020F0502020204030204" pitchFamily="34" charset="0"/>
              </a:rPr>
              <a:t> teams</a:t>
            </a:r>
          </a:p>
          <a:p>
            <a:endParaRPr lang="nb-NO" sz="1800" b="0" i="0" u="none" strike="noStrike" baseline="0" dirty="0">
              <a:latin typeface="Calibri" panose="020F0502020204030204" pitchFamily="34" charset="0"/>
            </a:endParaRPr>
          </a:p>
          <a:p>
            <a:r>
              <a:rPr lang="nb-NO" sz="1800" b="0" i="0" u="none" strike="noStrike" baseline="0" dirty="0">
                <a:latin typeface="Calibri" panose="020F0502020204030204" pitchFamily="34" charset="0"/>
              </a:rPr>
              <a:t>How </a:t>
            </a:r>
            <a:r>
              <a:rPr lang="nb-NO" sz="1800" b="0" i="0" u="none" strike="noStrike" baseline="0" dirty="0" err="1">
                <a:latin typeface="Calibri" panose="020F0502020204030204" pitchFamily="34" charset="0"/>
              </a:rPr>
              <a:t>should</a:t>
            </a:r>
            <a:r>
              <a:rPr lang="nb-NO" sz="1800" b="0" i="0" u="none" strike="noStrike" baseline="0" dirty="0">
                <a:latin typeface="Calibri" panose="020F0502020204030204" pitchFamily="34" charset="0"/>
              </a:rPr>
              <a:t> </a:t>
            </a:r>
            <a:r>
              <a:rPr lang="nb-NO" sz="1800" b="0" i="0" u="none" strike="noStrike" baseline="0" dirty="0" err="1">
                <a:latin typeface="Calibri" panose="020F0502020204030204" pitchFamily="34" charset="0"/>
              </a:rPr>
              <a:t>we</a:t>
            </a:r>
            <a:r>
              <a:rPr lang="nb-NO" sz="1800" b="0" i="0" u="none" strike="noStrike" baseline="0" dirty="0">
                <a:latin typeface="Calibri" panose="020F0502020204030204" pitchFamily="34" charset="0"/>
              </a:rPr>
              <a:t> </a:t>
            </a:r>
            <a:r>
              <a:rPr lang="nb-NO" sz="1800" b="0" i="0" u="none" strike="noStrike" baseline="0" dirty="0" err="1">
                <a:latin typeface="Calibri" panose="020F0502020204030204" pitchFamily="34" charset="0"/>
              </a:rPr>
              <a:t>possibly</a:t>
            </a:r>
            <a:r>
              <a:rPr lang="nb-NO" sz="1800" b="0" i="0" u="none" strike="noStrike" baseline="0" dirty="0">
                <a:latin typeface="Calibri" panose="020F0502020204030204" pitchFamily="34" charset="0"/>
              </a:rPr>
              <a:t> </a:t>
            </a:r>
            <a:r>
              <a:rPr lang="nb-NO" sz="1800" b="0" i="0" u="none" strike="noStrike" baseline="0" dirty="0" err="1">
                <a:latin typeface="Calibri" panose="020F0502020204030204" pitchFamily="34" charset="0"/>
              </a:rPr>
              <a:t>manage</a:t>
            </a:r>
            <a:r>
              <a:rPr lang="nb-NO" sz="1800" b="0" i="0" u="none" strike="noStrike" baseline="0" dirty="0">
                <a:latin typeface="Calibri" panose="020F0502020204030204" pitchFamily="34" charset="0"/>
              </a:rPr>
              <a:t> all </a:t>
            </a:r>
            <a:r>
              <a:rPr lang="nb-NO" sz="1800" b="0" i="0" u="none" strike="noStrike" baseline="0" dirty="0" err="1">
                <a:latin typeface="Calibri" panose="020F0502020204030204" pitchFamily="34" charset="0"/>
              </a:rPr>
              <a:t>of</a:t>
            </a:r>
            <a:r>
              <a:rPr lang="nb-NO" sz="1800" b="0" i="0" u="none" strike="noStrike" baseline="0" dirty="0">
                <a:latin typeface="Calibri" panose="020F0502020204030204" pitchFamily="34" charset="0"/>
              </a:rPr>
              <a:t> </a:t>
            </a:r>
            <a:r>
              <a:rPr lang="nb-NO" sz="1800" b="0" i="0" u="none" strike="noStrike" baseline="0" dirty="0" err="1">
                <a:latin typeface="Calibri" panose="020F0502020204030204" pitchFamily="34" charset="0"/>
              </a:rPr>
              <a:t>their</a:t>
            </a:r>
            <a:r>
              <a:rPr lang="nb-NO" sz="1800" b="0" i="0" u="none" strike="noStrike" baseline="0" dirty="0">
                <a:latin typeface="Calibri" panose="020F0502020204030204" pitchFamily="34" charset="0"/>
              </a:rPr>
              <a:t> </a:t>
            </a:r>
            <a:r>
              <a:rPr lang="nb-NO" sz="1800" b="0" i="0" u="none" strike="noStrike" baseline="0" dirty="0" err="1">
                <a:latin typeface="Calibri" panose="020F0502020204030204" pitchFamily="34" charset="0"/>
              </a:rPr>
              <a:t>solutions</a:t>
            </a:r>
            <a:r>
              <a:rPr lang="nb-NO" sz="1800" b="0" i="0" u="none" strike="noStrike" baseline="0" dirty="0">
                <a:latin typeface="Calibri" panose="020F0502020204030204" pitchFamily="34" charset="0"/>
              </a:rPr>
              <a:t> for </a:t>
            </a:r>
            <a:r>
              <a:rPr lang="nb-NO" sz="1800" b="0" i="0" u="none" strike="noStrike" baseline="0" dirty="0" err="1">
                <a:latin typeface="Calibri" panose="020F0502020204030204" pitchFamily="34" charset="0"/>
              </a:rPr>
              <a:t>them</a:t>
            </a:r>
            <a:r>
              <a:rPr lang="nb-NO" sz="1800" b="0" i="0" u="none" strike="noStrike" baseline="0" dirty="0">
                <a:latin typeface="Calibri" panose="020F0502020204030204" pitchFamily="34" charset="0"/>
              </a:rPr>
              <a:t>?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58827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788938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Calibri"/>
              <a:ea typeface="Calibri"/>
              <a:cs typeface="Calibri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22919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67949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86747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239349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sz="120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10089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10" Type="http://schemas.openxmlformats.org/officeDocument/2006/relationships/image" Target="../media/image23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6.png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 A">
    <p:bg>
      <p:bgPr>
        <a:solidFill>
          <a:srgbClr val="F4FFA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ooter Placeholder 8" hidden="1">
            <a:extLst>
              <a:ext uri="{FF2B5EF4-FFF2-40B4-BE49-F238E27FC236}">
                <a16:creationId xmlns:a16="http://schemas.microsoft.com/office/drawing/2014/main" id="{95F86BBF-A973-242B-C3D4-6BE967B3DC3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Gjensidige Forsikring Group</a:t>
            </a:r>
          </a:p>
        </p:txBody>
      </p:sp>
      <p:sp>
        <p:nvSpPr>
          <p:cNvPr id="14" name="Slide Number Placeholder 10" hidden="1">
            <a:extLst>
              <a:ext uri="{FF2B5EF4-FFF2-40B4-BE49-F238E27FC236}">
                <a16:creationId xmlns:a16="http://schemas.microsoft.com/office/drawing/2014/main" id="{3837E3F7-A67B-A033-D075-2614ABB9DA1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5" name="Background">
            <a:extLst>
              <a:ext uri="{FF2B5EF4-FFF2-40B4-BE49-F238E27FC236}">
                <a16:creationId xmlns:a16="http://schemas.microsoft.com/office/drawing/2014/main" id="{A3FA9748-09FF-181F-5499-C8CBEE4CE5F4}"/>
              </a:ext>
            </a:extLst>
          </p:cNvPr>
          <p:cNvSpPr/>
          <p:nvPr userDrawn="1"/>
        </p:nvSpPr>
        <p:spPr bwMode="white">
          <a:xfrm>
            <a:off x="0" y="0"/>
            <a:ext cx="12193200" cy="6858000"/>
          </a:xfrm>
          <a:prstGeom prst="rect">
            <a:avLst/>
          </a:prstGeom>
          <a:solidFill>
            <a:srgbClr val="F4FF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0" tIns="270000" rIns="270000" bIns="270000" rtlCol="0" anchor="ctr"/>
          <a:lstStyle/>
          <a:p>
            <a:pPr algn="ctr"/>
            <a:endParaRPr lang="nb-NO" sz="1600" noProof="0">
              <a:solidFill>
                <a:schemeClr val="bg1"/>
              </a:solidFill>
            </a:endParaRPr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D5A5E3D8-3154-F461-AE9C-259B956BE12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86285" y="251489"/>
            <a:ext cx="2052000" cy="50864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53437" y="1692767"/>
            <a:ext cx="11706621" cy="3922966"/>
          </a:xfrm>
        </p:spPr>
        <p:txBody>
          <a:bodyPr anchor="b"/>
          <a:lstStyle>
            <a:lvl1pPr indent="1008202" algn="l">
              <a:lnSpc>
                <a:spcPct val="90000"/>
              </a:lnSpc>
              <a:defRPr sz="9002">
                <a:solidFill>
                  <a:schemeClr val="tx2"/>
                </a:solidFill>
              </a:defRPr>
            </a:lvl1pPr>
          </a:lstStyle>
          <a:p>
            <a:r>
              <a:rPr lang="nb-NO" dirty="0"/>
              <a:t>Click to add short title</a:t>
            </a:r>
            <a:endParaRPr lang="nb-NO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53437" y="6306280"/>
            <a:ext cx="9144000" cy="36199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tx2"/>
                </a:solidFill>
                <a:latin typeface="Gjensidige Type" pitchFamily="50" charset="0"/>
                <a:ea typeface="Arial" pitchFamily="34" charset="0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dirty="0"/>
              <a:t>Click to add short subheading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AC8EEF-FDE3-FC05-2806-CA1DC5722FD6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9651667" y="6447257"/>
            <a:ext cx="2308391" cy="221018"/>
          </a:xfrm>
        </p:spPr>
        <p:txBody>
          <a:bodyPr bIns="36000"/>
          <a:lstStyle>
            <a:lvl1pPr algn="r">
              <a:defRPr sz="1200">
                <a:solidFill>
                  <a:srgbClr val="090C33"/>
                </a:solidFill>
                <a:latin typeface="Gjensidige Type" pitchFamily="50" charset="0"/>
                <a:ea typeface="Arial" pitchFamily="34" charset="0"/>
              </a:defRPr>
            </a:lvl1pPr>
          </a:lstStyle>
          <a:p>
            <a:r>
              <a:rPr lang="nb-NO"/>
              <a:t>Date, Month Year</a:t>
            </a:r>
          </a:p>
        </p:txBody>
      </p:sp>
    </p:spTree>
    <p:extLst>
      <p:ext uri="{BB962C8B-B14F-4D97-AF65-F5344CB8AC3E}">
        <p14:creationId xmlns:p14="http://schemas.microsoft.com/office/powerpoint/2010/main" val="68184737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066" userDrawn="1">
          <p15:clr>
            <a:srgbClr val="A4A3A4"/>
          </p15:clr>
        </p15:guide>
        <p15:guide id="2" orient="horz" pos="3537" userDrawn="1">
          <p15:clr>
            <a:srgbClr val="A4A3A4"/>
          </p15:clr>
        </p15:guide>
        <p15:guide id="3" pos="159" userDrawn="1">
          <p15:clr>
            <a:srgbClr val="A4A3A4"/>
          </p15:clr>
        </p15:guide>
        <p15:guide id="4" pos="7533" userDrawn="1">
          <p15:clr>
            <a:srgbClr val="A4A3A4"/>
          </p15:clr>
        </p15:guide>
        <p15:guide id="5" orient="horz" pos="4201" userDrawn="1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B">
    <p:bg>
      <p:bgPr>
        <a:solidFill>
          <a:srgbClr val="82E3B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8" hidden="1">
            <a:extLst>
              <a:ext uri="{FF2B5EF4-FFF2-40B4-BE49-F238E27FC236}">
                <a16:creationId xmlns:a16="http://schemas.microsoft.com/office/drawing/2014/main" id="{1B34E03E-D6A7-85B5-3DFB-89FA40ADF47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Gjensidige Forsikring Group</a:t>
            </a:r>
          </a:p>
        </p:txBody>
      </p:sp>
      <p:sp>
        <p:nvSpPr>
          <p:cNvPr id="3" name="Slide Number Placeholder 10" hidden="1">
            <a:extLst>
              <a:ext uri="{FF2B5EF4-FFF2-40B4-BE49-F238E27FC236}">
                <a16:creationId xmlns:a16="http://schemas.microsoft.com/office/drawing/2014/main" id="{583E0894-C8FD-9E31-D2AA-463BC311C2B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5" name="Date Placeholder 6" hidden="1">
            <a:extLst>
              <a:ext uri="{FF2B5EF4-FFF2-40B4-BE49-F238E27FC236}">
                <a16:creationId xmlns:a16="http://schemas.microsoft.com/office/drawing/2014/main" id="{5271DEC1-68BE-BC95-069B-EBC2AC5828EC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BB0F90D0-DE3E-4713-B566-C06C7B4F28DA}" type="datetime3">
              <a:rPr lang="nb-NO" smtClean="0"/>
              <a:t>2024.02.14</a:t>
            </a:fld>
            <a:endParaRPr lang="nb-NO"/>
          </a:p>
        </p:txBody>
      </p:sp>
      <p:sp>
        <p:nvSpPr>
          <p:cNvPr id="4" name="Background">
            <a:extLst>
              <a:ext uri="{FF2B5EF4-FFF2-40B4-BE49-F238E27FC236}">
                <a16:creationId xmlns:a16="http://schemas.microsoft.com/office/drawing/2014/main" id="{0FE59CB4-D59E-4CB3-7802-D163B8EEF7BA}"/>
              </a:ext>
            </a:extLst>
          </p:cNvPr>
          <p:cNvSpPr/>
          <p:nvPr userDrawn="1"/>
        </p:nvSpPr>
        <p:spPr bwMode="white">
          <a:xfrm>
            <a:off x="0" y="0"/>
            <a:ext cx="12193200" cy="6858000"/>
          </a:xfrm>
          <a:prstGeom prst="rect">
            <a:avLst/>
          </a:prstGeom>
          <a:solidFill>
            <a:srgbClr val="82E3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0" tIns="270000" rIns="270000" bIns="270000" rtlCol="0" anchor="ctr"/>
          <a:lstStyle/>
          <a:p>
            <a:pPr algn="ctr"/>
            <a:endParaRPr lang="nb-NO" sz="1600" noProof="0">
              <a:solidFill>
                <a:schemeClr val="bg1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AD353DF-DB37-059F-2D12-B853C8B0201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3714" y="1887560"/>
            <a:ext cx="11684570" cy="4100979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9002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nb-NO" dirty="0"/>
              <a:t>Replace this text and add chapter number in text box above</a:t>
            </a:r>
            <a:endParaRPr lang="nb-NO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89AA4133-AB50-B6DB-D135-74AA8C2C6B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0108" y="-3775571"/>
            <a:ext cx="11679893" cy="3775571"/>
          </a:xfrm>
        </p:spPr>
        <p:txBody>
          <a:bodyPr/>
          <a:lstStyle>
            <a:lvl1pPr algn="l">
              <a:defRPr sz="25605">
                <a:solidFill>
                  <a:srgbClr val="090C33"/>
                </a:solidFill>
              </a:defRPr>
            </a:lvl1pPr>
          </a:lstStyle>
          <a:p>
            <a:r>
              <a:rPr lang="nb-NO" dirty="0"/>
              <a:t>00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4497373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mph" presetSubtype="0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indefinite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"/>
                                      </p:to>
                                    </p:set>
                                    <p:animEffect filter="image" prLst="opacity: 0">
                                      <p:cBhvr rctx="IE">
                                        <p:cTn id="7" dur="indefinite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750"/>
                            </p:stCondLst>
                            <p:childTnLst>
                              <p:par>
                                <p:cTn id="9" presetID="42" presetClass="pat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7 1.48148E-6 L -4.16667E-7 0.75 " pathEditMode="relative" rAng="0" ptsTypes="AA">
                                      <p:cBhvr>
                                        <p:cTn id="10" dur="1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7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760"/>
                            </p:stCondLst>
                            <p:childTnLst>
                              <p:par>
                                <p:cTn id="12" presetID="9" presetClass="emph" presetSubtype="0" grpId="3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indefinite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14" dur="indefinite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7 0.75 L -0.00078 0.25972 " pathEditMode="relative" rAng="0" ptsTypes="AA">
                                      <p:cBhvr>
                                        <p:cTn id="18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9" y="-24514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allAtOnce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/>
      <p:bldP spid="10" grpId="1"/>
      <p:bldP spid="10" grpId="2"/>
      <p:bldP spid="10" grpId="3"/>
    </p:bldLst>
  </p:timing>
  <p:extLst>
    <p:ext uri="{DCECCB84-F9BA-43D5-87BE-67443E8EF086}">
      <p15:sldGuideLst xmlns:p15="http://schemas.microsoft.com/office/powerpoint/2012/main">
        <p15:guide id="3" pos="159" userDrawn="1">
          <p15:clr>
            <a:srgbClr val="A4A3A4"/>
          </p15:clr>
        </p15:guide>
        <p15:guide id="4" pos="7520" userDrawn="1">
          <p15:clr>
            <a:srgbClr val="A4A3A4"/>
          </p15:clr>
        </p15:guide>
        <p15:guide id="5" orient="horz" pos="1188" userDrawn="1">
          <p15:clr>
            <a:srgbClr val="A4A3A4"/>
          </p15:clr>
        </p15:guide>
        <p15:guide id="6" orient="horz" pos="3773" userDrawn="1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C">
    <p:bg>
      <p:bgPr>
        <a:solidFill>
          <a:srgbClr val="BDD3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8" hidden="1">
            <a:extLst>
              <a:ext uri="{FF2B5EF4-FFF2-40B4-BE49-F238E27FC236}">
                <a16:creationId xmlns:a16="http://schemas.microsoft.com/office/drawing/2014/main" id="{1B34E03E-D6A7-85B5-3DFB-89FA40ADF47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Gjensidige Forsikring Group</a:t>
            </a:r>
          </a:p>
        </p:txBody>
      </p:sp>
      <p:sp>
        <p:nvSpPr>
          <p:cNvPr id="3" name="Slide Number Placeholder 10" hidden="1">
            <a:extLst>
              <a:ext uri="{FF2B5EF4-FFF2-40B4-BE49-F238E27FC236}">
                <a16:creationId xmlns:a16="http://schemas.microsoft.com/office/drawing/2014/main" id="{583E0894-C8FD-9E31-D2AA-463BC311C2B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5" name="Date Placeholder 6" hidden="1">
            <a:extLst>
              <a:ext uri="{FF2B5EF4-FFF2-40B4-BE49-F238E27FC236}">
                <a16:creationId xmlns:a16="http://schemas.microsoft.com/office/drawing/2014/main" id="{5271DEC1-68BE-BC95-069B-EBC2AC5828EC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BB0F90D0-DE3E-4713-B566-C06C7B4F28DA}" type="datetime3">
              <a:rPr lang="nb-NO" smtClean="0"/>
              <a:t>2024.02.14</a:t>
            </a:fld>
            <a:endParaRPr lang="nb-NO"/>
          </a:p>
        </p:txBody>
      </p:sp>
      <p:sp>
        <p:nvSpPr>
          <p:cNvPr id="4" name="Background">
            <a:extLst>
              <a:ext uri="{FF2B5EF4-FFF2-40B4-BE49-F238E27FC236}">
                <a16:creationId xmlns:a16="http://schemas.microsoft.com/office/drawing/2014/main" id="{0FE59CB4-D59E-4CB3-7802-D163B8EEF7BA}"/>
              </a:ext>
            </a:extLst>
          </p:cNvPr>
          <p:cNvSpPr/>
          <p:nvPr userDrawn="1"/>
        </p:nvSpPr>
        <p:spPr bwMode="white">
          <a:xfrm>
            <a:off x="0" y="0"/>
            <a:ext cx="12193200" cy="6858000"/>
          </a:xfrm>
          <a:prstGeom prst="rect">
            <a:avLst/>
          </a:prstGeom>
          <a:solidFill>
            <a:srgbClr val="BDD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0" tIns="270000" rIns="270000" bIns="270000" rtlCol="0" anchor="ctr"/>
          <a:lstStyle/>
          <a:p>
            <a:pPr algn="ctr"/>
            <a:endParaRPr lang="nb-NO" sz="1600" noProof="0">
              <a:solidFill>
                <a:schemeClr val="bg1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AD353DF-DB37-059F-2D12-B853C8B0201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3714" y="1887560"/>
            <a:ext cx="11684570" cy="4100979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9002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nb-NO" dirty="0"/>
              <a:t>Replace this text and add chapter number in text box above</a:t>
            </a:r>
            <a:endParaRPr lang="nb-NO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89AA4133-AB50-B6DB-D135-74AA8C2C6B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0108" y="-3775571"/>
            <a:ext cx="11679893" cy="3775571"/>
          </a:xfrm>
        </p:spPr>
        <p:txBody>
          <a:bodyPr/>
          <a:lstStyle>
            <a:lvl1pPr algn="l">
              <a:defRPr sz="25605">
                <a:solidFill>
                  <a:srgbClr val="090C33"/>
                </a:solidFill>
              </a:defRPr>
            </a:lvl1pPr>
          </a:lstStyle>
          <a:p>
            <a:r>
              <a:rPr lang="nb-NO" dirty="0"/>
              <a:t>00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3993128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mph" presetSubtype="0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indefinite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"/>
                                      </p:to>
                                    </p:set>
                                    <p:animEffect filter="image" prLst="opacity: 0">
                                      <p:cBhvr rctx="IE">
                                        <p:cTn id="7" dur="indefinite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750"/>
                            </p:stCondLst>
                            <p:childTnLst>
                              <p:par>
                                <p:cTn id="9" presetID="42" presetClass="pat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7 1.48148E-6 L -4.16667E-7 0.75 " pathEditMode="relative" rAng="0" ptsTypes="AA">
                                      <p:cBhvr>
                                        <p:cTn id="10" dur="1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7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760"/>
                            </p:stCondLst>
                            <p:childTnLst>
                              <p:par>
                                <p:cTn id="12" presetID="9" presetClass="emph" presetSubtype="0" grpId="3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indefinite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14" dur="indefinite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7 0.75 L -0.00078 0.25972 " pathEditMode="relative" rAng="0" ptsTypes="AA">
                                      <p:cBhvr>
                                        <p:cTn id="18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9" y="-24514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allAtOnce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/>
      <p:bldP spid="10" grpId="1"/>
      <p:bldP spid="10" grpId="2"/>
      <p:bldP spid="10" grpId="3"/>
    </p:bldLst>
  </p:timing>
  <p:extLst>
    <p:ext uri="{DCECCB84-F9BA-43D5-87BE-67443E8EF086}">
      <p15:sldGuideLst xmlns:p15="http://schemas.microsoft.com/office/powerpoint/2012/main">
        <p15:guide id="3" pos="159" userDrawn="1">
          <p15:clr>
            <a:srgbClr val="A4A3A4"/>
          </p15:clr>
        </p15:guide>
        <p15:guide id="4" pos="7520" userDrawn="1">
          <p15:clr>
            <a:srgbClr val="A4A3A4"/>
          </p15:clr>
        </p15:guide>
        <p15:guide id="5" orient="horz" pos="1188" userDrawn="1">
          <p15:clr>
            <a:srgbClr val="A4A3A4"/>
          </p15:clr>
        </p15:guide>
        <p15:guide id="6" orient="horz" pos="3773" userDrawn="1">
          <p15:clr>
            <a:srgbClr val="A4A3A4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D">
    <p:bg>
      <p:bgPr>
        <a:solidFill>
          <a:srgbClr val="D0CA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8" hidden="1">
            <a:extLst>
              <a:ext uri="{FF2B5EF4-FFF2-40B4-BE49-F238E27FC236}">
                <a16:creationId xmlns:a16="http://schemas.microsoft.com/office/drawing/2014/main" id="{1B34E03E-D6A7-85B5-3DFB-89FA40ADF47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Gjensidige Forsikring Group</a:t>
            </a:r>
          </a:p>
        </p:txBody>
      </p:sp>
      <p:sp>
        <p:nvSpPr>
          <p:cNvPr id="3" name="Slide Number Placeholder 10" hidden="1">
            <a:extLst>
              <a:ext uri="{FF2B5EF4-FFF2-40B4-BE49-F238E27FC236}">
                <a16:creationId xmlns:a16="http://schemas.microsoft.com/office/drawing/2014/main" id="{583E0894-C8FD-9E31-D2AA-463BC311C2B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5" name="Date Placeholder 6" hidden="1">
            <a:extLst>
              <a:ext uri="{FF2B5EF4-FFF2-40B4-BE49-F238E27FC236}">
                <a16:creationId xmlns:a16="http://schemas.microsoft.com/office/drawing/2014/main" id="{5271DEC1-68BE-BC95-069B-EBC2AC5828EC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BB0F90D0-DE3E-4713-B566-C06C7B4F28DA}" type="datetime3">
              <a:rPr lang="nb-NO" smtClean="0"/>
              <a:t>2024.02.14</a:t>
            </a:fld>
            <a:endParaRPr lang="nb-NO"/>
          </a:p>
        </p:txBody>
      </p:sp>
      <p:sp>
        <p:nvSpPr>
          <p:cNvPr id="4" name="Background">
            <a:extLst>
              <a:ext uri="{FF2B5EF4-FFF2-40B4-BE49-F238E27FC236}">
                <a16:creationId xmlns:a16="http://schemas.microsoft.com/office/drawing/2014/main" id="{0FE59CB4-D59E-4CB3-7802-D163B8EEF7BA}"/>
              </a:ext>
            </a:extLst>
          </p:cNvPr>
          <p:cNvSpPr/>
          <p:nvPr userDrawn="1"/>
        </p:nvSpPr>
        <p:spPr bwMode="white">
          <a:xfrm>
            <a:off x="0" y="0"/>
            <a:ext cx="12193200" cy="6858000"/>
          </a:xfrm>
          <a:prstGeom prst="rect">
            <a:avLst/>
          </a:prstGeom>
          <a:solidFill>
            <a:srgbClr val="D0CA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0" tIns="270000" rIns="270000" bIns="270000" rtlCol="0" anchor="ctr"/>
          <a:lstStyle/>
          <a:p>
            <a:pPr algn="ctr"/>
            <a:endParaRPr lang="nb-NO" sz="1600" noProof="0">
              <a:solidFill>
                <a:schemeClr val="bg1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AD353DF-DB37-059F-2D12-B853C8B0201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3714" y="1887560"/>
            <a:ext cx="11684570" cy="4100979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9002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nb-NO" dirty="0"/>
              <a:t>Replace this text and add chapter number in text box above</a:t>
            </a:r>
            <a:endParaRPr lang="nb-NO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89AA4133-AB50-B6DB-D135-74AA8C2C6B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0108" y="-3775571"/>
            <a:ext cx="11679893" cy="3775571"/>
          </a:xfrm>
        </p:spPr>
        <p:txBody>
          <a:bodyPr/>
          <a:lstStyle>
            <a:lvl1pPr algn="l">
              <a:defRPr sz="25605">
                <a:solidFill>
                  <a:srgbClr val="090C33"/>
                </a:solidFill>
              </a:defRPr>
            </a:lvl1pPr>
          </a:lstStyle>
          <a:p>
            <a:r>
              <a:rPr lang="nb-NO" dirty="0"/>
              <a:t>00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4658547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mph" presetSubtype="0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indefinite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"/>
                                      </p:to>
                                    </p:set>
                                    <p:animEffect filter="image" prLst="opacity: 0">
                                      <p:cBhvr rctx="IE">
                                        <p:cTn id="7" dur="indefinite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750"/>
                            </p:stCondLst>
                            <p:childTnLst>
                              <p:par>
                                <p:cTn id="9" presetID="42" presetClass="pat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7 1.48148E-6 L -4.16667E-7 0.75 " pathEditMode="relative" rAng="0" ptsTypes="AA">
                                      <p:cBhvr>
                                        <p:cTn id="10" dur="1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7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760"/>
                            </p:stCondLst>
                            <p:childTnLst>
                              <p:par>
                                <p:cTn id="12" presetID="9" presetClass="emph" presetSubtype="0" grpId="3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indefinite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14" dur="indefinite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7 0.75 L -0.00078 0.25972 " pathEditMode="relative" rAng="0" ptsTypes="AA">
                                      <p:cBhvr>
                                        <p:cTn id="18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9" y="-24514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allAtOnce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/>
      <p:bldP spid="10" grpId="1"/>
      <p:bldP spid="10" grpId="2"/>
      <p:bldP spid="10" grpId="3"/>
    </p:bldLst>
  </p:timing>
  <p:extLst>
    <p:ext uri="{DCECCB84-F9BA-43D5-87BE-67443E8EF086}">
      <p15:sldGuideLst xmlns:p15="http://schemas.microsoft.com/office/powerpoint/2012/main">
        <p15:guide id="3" pos="159" userDrawn="1">
          <p15:clr>
            <a:srgbClr val="A4A3A4"/>
          </p15:clr>
        </p15:guide>
        <p15:guide id="4" pos="7520" userDrawn="1">
          <p15:clr>
            <a:srgbClr val="A4A3A4"/>
          </p15:clr>
        </p15:guide>
        <p15:guide id="5" orient="horz" pos="1188" userDrawn="1">
          <p15:clr>
            <a:srgbClr val="A4A3A4"/>
          </p15:clr>
        </p15:guide>
        <p15:guide id="6" orient="horz" pos="3773" userDrawn="1">
          <p15:clr>
            <a:srgbClr val="A4A3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E">
    <p:bg>
      <p:bgPr>
        <a:solidFill>
          <a:srgbClr val="FFA8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8" hidden="1">
            <a:extLst>
              <a:ext uri="{FF2B5EF4-FFF2-40B4-BE49-F238E27FC236}">
                <a16:creationId xmlns:a16="http://schemas.microsoft.com/office/drawing/2014/main" id="{1B34E03E-D6A7-85B5-3DFB-89FA40ADF47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Gjensidige Forsikring Group</a:t>
            </a:r>
          </a:p>
        </p:txBody>
      </p:sp>
      <p:sp>
        <p:nvSpPr>
          <p:cNvPr id="3" name="Slide Number Placeholder 10" hidden="1">
            <a:extLst>
              <a:ext uri="{FF2B5EF4-FFF2-40B4-BE49-F238E27FC236}">
                <a16:creationId xmlns:a16="http://schemas.microsoft.com/office/drawing/2014/main" id="{583E0894-C8FD-9E31-D2AA-463BC311C2B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5" name="Date Placeholder 6" hidden="1">
            <a:extLst>
              <a:ext uri="{FF2B5EF4-FFF2-40B4-BE49-F238E27FC236}">
                <a16:creationId xmlns:a16="http://schemas.microsoft.com/office/drawing/2014/main" id="{5271DEC1-68BE-BC95-069B-EBC2AC5828EC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BB0F90D0-DE3E-4713-B566-C06C7B4F28DA}" type="datetime3">
              <a:rPr lang="nb-NO" smtClean="0"/>
              <a:t>2024.02.14</a:t>
            </a:fld>
            <a:endParaRPr lang="nb-NO"/>
          </a:p>
        </p:txBody>
      </p:sp>
      <p:sp>
        <p:nvSpPr>
          <p:cNvPr id="4" name="Background">
            <a:extLst>
              <a:ext uri="{FF2B5EF4-FFF2-40B4-BE49-F238E27FC236}">
                <a16:creationId xmlns:a16="http://schemas.microsoft.com/office/drawing/2014/main" id="{0FE59CB4-D59E-4CB3-7802-D163B8EEF7BA}"/>
              </a:ext>
            </a:extLst>
          </p:cNvPr>
          <p:cNvSpPr/>
          <p:nvPr userDrawn="1"/>
        </p:nvSpPr>
        <p:spPr bwMode="white">
          <a:xfrm>
            <a:off x="0" y="0"/>
            <a:ext cx="12193200" cy="6858000"/>
          </a:xfrm>
          <a:prstGeom prst="rect">
            <a:avLst/>
          </a:prstGeom>
          <a:solidFill>
            <a:srgbClr val="FFA8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0" tIns="270000" rIns="270000" bIns="270000" rtlCol="0" anchor="ctr"/>
          <a:lstStyle/>
          <a:p>
            <a:pPr algn="ctr"/>
            <a:endParaRPr lang="nb-NO" sz="1600" noProof="0">
              <a:solidFill>
                <a:schemeClr val="bg1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AD353DF-DB37-059F-2D12-B853C8B0201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3714" y="1887560"/>
            <a:ext cx="11684570" cy="4100979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9002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nb-NO" dirty="0"/>
              <a:t>Replace this text and add chapter number in text box above</a:t>
            </a:r>
            <a:endParaRPr lang="nb-NO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89AA4133-AB50-B6DB-D135-74AA8C2C6B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0108" y="-3775571"/>
            <a:ext cx="11679893" cy="3775571"/>
          </a:xfrm>
        </p:spPr>
        <p:txBody>
          <a:bodyPr/>
          <a:lstStyle>
            <a:lvl1pPr algn="l">
              <a:defRPr sz="25605">
                <a:solidFill>
                  <a:srgbClr val="090C33"/>
                </a:solidFill>
              </a:defRPr>
            </a:lvl1pPr>
          </a:lstStyle>
          <a:p>
            <a:r>
              <a:rPr lang="nb-NO" dirty="0"/>
              <a:t>00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6175127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mph" presetSubtype="0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indefinite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"/>
                                      </p:to>
                                    </p:set>
                                    <p:animEffect filter="image" prLst="opacity: 0">
                                      <p:cBhvr rctx="IE">
                                        <p:cTn id="7" dur="indefinite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750"/>
                            </p:stCondLst>
                            <p:childTnLst>
                              <p:par>
                                <p:cTn id="9" presetID="42" presetClass="pat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7 1.48148E-6 L -4.16667E-7 0.75 " pathEditMode="relative" rAng="0" ptsTypes="AA">
                                      <p:cBhvr>
                                        <p:cTn id="10" dur="1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7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760"/>
                            </p:stCondLst>
                            <p:childTnLst>
                              <p:par>
                                <p:cTn id="12" presetID="9" presetClass="emph" presetSubtype="0" grpId="3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indefinite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14" dur="indefinite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7 0.75 L -0.00078 0.25972 " pathEditMode="relative" rAng="0" ptsTypes="AA">
                                      <p:cBhvr>
                                        <p:cTn id="18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9" y="-24514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allAtOnce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/>
      <p:bldP spid="10" grpId="1"/>
      <p:bldP spid="10" grpId="2"/>
      <p:bldP spid="10" grpId="3"/>
    </p:bldLst>
  </p:timing>
  <p:extLst>
    <p:ext uri="{DCECCB84-F9BA-43D5-87BE-67443E8EF086}">
      <p15:sldGuideLst xmlns:p15="http://schemas.microsoft.com/office/powerpoint/2012/main">
        <p15:guide id="3" pos="159" userDrawn="1">
          <p15:clr>
            <a:srgbClr val="A4A3A4"/>
          </p15:clr>
        </p15:guide>
        <p15:guide id="4" pos="7520" userDrawn="1">
          <p15:clr>
            <a:srgbClr val="A4A3A4"/>
          </p15:clr>
        </p15:guide>
        <p15:guide id="5" orient="horz" pos="1188" userDrawn="1">
          <p15:clr>
            <a:srgbClr val="A4A3A4"/>
          </p15:clr>
        </p15:guide>
        <p15:guide id="6" orient="horz" pos="3773" userDrawn="1">
          <p15:clr>
            <a:srgbClr val="A4A3A4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F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8" hidden="1">
            <a:extLst>
              <a:ext uri="{FF2B5EF4-FFF2-40B4-BE49-F238E27FC236}">
                <a16:creationId xmlns:a16="http://schemas.microsoft.com/office/drawing/2014/main" id="{1B34E03E-D6A7-85B5-3DFB-89FA40ADF47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Gjensidige Forsikring Group</a:t>
            </a:r>
          </a:p>
        </p:txBody>
      </p:sp>
      <p:sp>
        <p:nvSpPr>
          <p:cNvPr id="3" name="Slide Number Placeholder 10" hidden="1">
            <a:extLst>
              <a:ext uri="{FF2B5EF4-FFF2-40B4-BE49-F238E27FC236}">
                <a16:creationId xmlns:a16="http://schemas.microsoft.com/office/drawing/2014/main" id="{583E0894-C8FD-9E31-D2AA-463BC311C2B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5" name="Date Placeholder 6" hidden="1">
            <a:extLst>
              <a:ext uri="{FF2B5EF4-FFF2-40B4-BE49-F238E27FC236}">
                <a16:creationId xmlns:a16="http://schemas.microsoft.com/office/drawing/2014/main" id="{5271DEC1-68BE-BC95-069B-EBC2AC5828EC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BB0F90D0-DE3E-4713-B566-C06C7B4F28DA}" type="datetime3">
              <a:rPr lang="nb-NO" smtClean="0"/>
              <a:t>2024.02.14</a:t>
            </a:fld>
            <a:endParaRPr lang="nb-NO"/>
          </a:p>
        </p:txBody>
      </p:sp>
      <p:sp>
        <p:nvSpPr>
          <p:cNvPr id="4" name="Background">
            <a:extLst>
              <a:ext uri="{FF2B5EF4-FFF2-40B4-BE49-F238E27FC236}">
                <a16:creationId xmlns:a16="http://schemas.microsoft.com/office/drawing/2014/main" id="{0FE59CB4-D59E-4CB3-7802-D163B8EEF7BA}"/>
              </a:ext>
            </a:extLst>
          </p:cNvPr>
          <p:cNvSpPr/>
          <p:nvPr userDrawn="1"/>
        </p:nvSpPr>
        <p:spPr bwMode="white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0" tIns="270000" rIns="270000" bIns="270000" rtlCol="0" anchor="ctr"/>
          <a:lstStyle/>
          <a:p>
            <a:pPr algn="ctr"/>
            <a:endParaRPr lang="nb-NO" sz="1600" noProof="0">
              <a:solidFill>
                <a:schemeClr val="bg1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AD353DF-DB37-059F-2D12-B853C8B0201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3714" y="1887560"/>
            <a:ext cx="11684570" cy="4100979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9002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nb-NO" dirty="0"/>
              <a:t>Replace this text and add chapter number in text box above</a:t>
            </a:r>
            <a:endParaRPr lang="nb-NO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89AA4133-AB50-B6DB-D135-74AA8C2C6B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0108" y="-3775571"/>
            <a:ext cx="11679893" cy="3775571"/>
          </a:xfrm>
        </p:spPr>
        <p:txBody>
          <a:bodyPr/>
          <a:lstStyle>
            <a:lvl1pPr algn="l">
              <a:defRPr sz="25605">
                <a:solidFill>
                  <a:srgbClr val="090C33"/>
                </a:solidFill>
              </a:defRPr>
            </a:lvl1pPr>
          </a:lstStyle>
          <a:p>
            <a:r>
              <a:rPr lang="nb-NO" dirty="0"/>
              <a:t>00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564309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mph" presetSubtype="0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indefinite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"/>
                                      </p:to>
                                    </p:set>
                                    <p:animEffect filter="image" prLst="opacity: 0">
                                      <p:cBhvr rctx="IE">
                                        <p:cTn id="7" dur="indefinite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750"/>
                            </p:stCondLst>
                            <p:childTnLst>
                              <p:par>
                                <p:cTn id="9" presetID="42" presetClass="pat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7 1.48148E-6 L -4.16667E-7 0.75 " pathEditMode="relative" rAng="0" ptsTypes="AA">
                                      <p:cBhvr>
                                        <p:cTn id="10" dur="1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7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760"/>
                            </p:stCondLst>
                            <p:childTnLst>
                              <p:par>
                                <p:cTn id="12" presetID="9" presetClass="emph" presetSubtype="0" grpId="3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indefinite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14" dur="indefinite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7 0.75 L -0.00078 0.25972 " pathEditMode="relative" rAng="0" ptsTypes="AA">
                                      <p:cBhvr>
                                        <p:cTn id="18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9" y="-24514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allAtOnce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/>
      <p:bldP spid="10" grpId="1"/>
      <p:bldP spid="10" grpId="2"/>
      <p:bldP spid="10" grpId="3"/>
    </p:bldLst>
  </p:timing>
  <p:extLst>
    <p:ext uri="{DCECCB84-F9BA-43D5-87BE-67443E8EF086}">
      <p15:sldGuideLst xmlns:p15="http://schemas.microsoft.com/office/powerpoint/2012/main">
        <p15:guide id="3" pos="159" userDrawn="1">
          <p15:clr>
            <a:srgbClr val="A4A3A4"/>
          </p15:clr>
        </p15:guide>
        <p15:guide id="4" pos="7520" userDrawn="1">
          <p15:clr>
            <a:srgbClr val="A4A3A4"/>
          </p15:clr>
        </p15:guide>
        <p15:guide id="5" orient="horz" pos="1188" userDrawn="1">
          <p15:clr>
            <a:srgbClr val="A4A3A4"/>
          </p15:clr>
        </p15:guide>
        <p15:guide id="6" orient="horz" pos="3773" userDrawn="1">
          <p15:clr>
            <a:srgbClr val="A4A3A4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0F90D0-DE3E-4713-B566-C06C7B4F28DA}" type="datetime3">
              <a:rPr lang="nb-NO" smtClean="0"/>
              <a:t>2024.02.14</a:t>
            </a:fld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0000" y="622800"/>
            <a:ext cx="10184400" cy="982800"/>
          </a:xfrm>
        </p:spPr>
        <p:txBody>
          <a:bodyPr/>
          <a:lstStyle/>
          <a:p>
            <a:r>
              <a:rPr lang="nb-NO" noProof="0" dirty="0"/>
              <a:t>Click to add title. </a:t>
            </a:r>
            <a:br>
              <a:rPr lang="en-GB" noProof="0" dirty="0"/>
            </a:br>
            <a:r>
              <a:rPr lang="nb-NO" noProof="0" dirty="0"/>
              <a:t>Maximum two lines.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0000" y="1951200"/>
            <a:ext cx="10792800" cy="388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                                                                                                                                                                       Enter &amp; TAB to view next text style                                                                                                                                           SHIFT+TAB to view previous text style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B9813ED-2D97-404C-BF27-32E36FE286BD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50000" y="363600"/>
            <a:ext cx="10184400" cy="2587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b="0">
                <a:solidFill>
                  <a:schemeClr val="tx2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nb-NO" dirty="0"/>
              <a:t>Click to add chapter</a:t>
            </a:r>
            <a:endParaRPr lang="nb-NO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E6DC9F9-CEFA-4E56-9BE8-6968B0C9233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0000" y="6188400"/>
            <a:ext cx="7664400" cy="316800"/>
          </a:xfrm>
        </p:spPr>
        <p:txBody>
          <a:bodyPr anchor="b" anchorCtr="0"/>
          <a:lstStyle>
            <a:lvl1pPr marL="0" indent="0">
              <a:buNone/>
              <a:defRPr lang="en-US" sz="7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nb-NO" dirty="0"/>
              <a:t>Click to edit source</a:t>
            </a:r>
            <a:endParaRPr lang="nb-NO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809200" y="6188400"/>
            <a:ext cx="2055600" cy="309600"/>
          </a:xfrm>
        </p:spPr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65600" y="6188400"/>
            <a:ext cx="277200" cy="309600"/>
          </a:xfrm>
        </p:spPr>
        <p:txBody>
          <a:bodyPr/>
          <a:lstStyle/>
          <a:p>
            <a:fld id="{23AA811B-2EBD-4900-905E-5BE20644961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310111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29" userDrawn="1">
          <p15:clr>
            <a:srgbClr val="A4A3A4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0F90D0-DE3E-4713-B566-C06C7B4F28DA}" type="datetime3">
              <a:rPr lang="nb-NO" smtClean="0"/>
              <a:t>2024.02.14</a:t>
            </a:fld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0000" y="622800"/>
            <a:ext cx="10184400" cy="982800"/>
          </a:xfrm>
        </p:spPr>
        <p:txBody>
          <a:bodyPr/>
          <a:lstStyle/>
          <a:p>
            <a:r>
              <a:rPr lang="nb-NO" noProof="0" dirty="0"/>
              <a:t>Click to add title. </a:t>
            </a:r>
            <a:br>
              <a:rPr lang="en-GB" noProof="0" dirty="0"/>
            </a:br>
            <a:r>
              <a:rPr lang="nb-NO" noProof="0" dirty="0"/>
              <a:t>Maximum two lines.</a:t>
            </a:r>
            <a:endParaRPr lang="nb-NO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4DBFD812-BD5E-7699-0F21-1CA9C59C0AC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0000" y="1954342"/>
            <a:ext cx="10792800" cy="277200"/>
          </a:xfrm>
        </p:spPr>
        <p:txBody>
          <a:bodyPr tIns="0" anchor="t" anchorCtr="0"/>
          <a:lstStyle>
            <a:lvl1pPr marL="0" indent="0">
              <a:lnSpc>
                <a:spcPct val="100000"/>
              </a:lnSpc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noProof="0" dirty="0"/>
              <a:t>Click to add subtit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0000" y="2343600"/>
            <a:ext cx="10792800" cy="349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                                                                                                                                                                       Enter &amp; TAB to view next text style                                                                                                                                           SHIFT+TAB to view previous text style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B9813ED-2D97-404C-BF27-32E36FE286BD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50000" y="363600"/>
            <a:ext cx="10184400" cy="2592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b="0">
                <a:solidFill>
                  <a:schemeClr val="tx2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nb-NO" noProof="0" dirty="0"/>
              <a:t>Hvordan lykkes med generativ AI prototyping ved bruk av Lean </a:t>
            </a:r>
            <a:r>
              <a:rPr lang="nb-NO" noProof="0" dirty="0" err="1"/>
              <a:t>Startup</a:t>
            </a:r>
            <a:r>
              <a:rPr lang="nb-NO" noProof="0" dirty="0"/>
              <a:t> metodikk</a:t>
            </a:r>
          </a:p>
          <a:p>
            <a:pPr>
              <a:buNone/>
            </a:pP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E6DC9F9-CEFA-4E56-9BE8-6968B0C9233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0000" y="6188400"/>
            <a:ext cx="7664400" cy="316800"/>
          </a:xfrm>
        </p:spPr>
        <p:txBody>
          <a:bodyPr anchor="b" anchorCtr="0"/>
          <a:lstStyle>
            <a:lvl1pPr marL="0" indent="0">
              <a:buNone/>
              <a:defRPr lang="en-US" sz="7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nb-NO" dirty="0"/>
              <a:t>Click to edit source</a:t>
            </a:r>
            <a:endParaRPr lang="nb-NO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809200" y="6188400"/>
            <a:ext cx="2055600" cy="309600"/>
          </a:xfrm>
        </p:spPr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65600" y="6188400"/>
            <a:ext cx="277200" cy="309600"/>
          </a:xfrm>
        </p:spPr>
        <p:txBody>
          <a:bodyPr/>
          <a:lstStyle/>
          <a:p>
            <a:fld id="{23AA811B-2EBD-4900-905E-5BE20644961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18639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76" userDrawn="1">
          <p15:clr>
            <a:srgbClr val="A4A3A4"/>
          </p15:clr>
        </p15:guide>
        <p15:guide id="2" orient="horz" pos="1229" userDrawn="1">
          <p15:clr>
            <a:srgbClr val="A4A3A4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0F90D0-DE3E-4713-B566-C06C7B4F28DA}" type="datetime3">
              <a:rPr lang="nb-NO" smtClean="0"/>
              <a:t>2024.02.14</a:t>
            </a:fld>
            <a:endParaRPr lang="nb-NO"/>
          </a:p>
        </p:txBody>
      </p:sp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271CACBD-0E79-1B37-9D79-83106CCF676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-1" y="0"/>
            <a:ext cx="12193200" cy="6857999"/>
          </a:xfrm>
          <a:solidFill>
            <a:schemeClr val="bg1">
              <a:lumMod val="85000"/>
            </a:schemeClr>
          </a:solidFill>
        </p:spPr>
        <p:txBody>
          <a:bodyPr lIns="36000" tIns="36000" rIns="3600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/>
            </a:lvl1pPr>
          </a:lstStyle>
          <a:p>
            <a:r>
              <a:rPr lang="nb-NO"/>
              <a:t>To insert picture from Templafy click on slide frame and select from Templafy Images.</a:t>
            </a:r>
          </a:p>
          <a:p>
            <a:r>
              <a:rPr lang="nb-NO"/>
              <a:t>To insert picture from local computer, insert text in the title field first to access the picture icon.</a:t>
            </a:r>
          </a:p>
        </p:txBody>
      </p:sp>
      <p:sp>
        <p:nvSpPr>
          <p:cNvPr id="11" name="Text Placeholder logo">
            <a:extLst>
              <a:ext uri="{FF2B5EF4-FFF2-40B4-BE49-F238E27FC236}">
                <a16:creationId xmlns:a16="http://schemas.microsoft.com/office/drawing/2014/main" id="{52433043-7534-8EE3-C41A-C3540D6B8F0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1245816" y="371478"/>
            <a:ext cx="510924" cy="50720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37" b="-137"/>
            </a:stretch>
          </a:blipFill>
        </p:spPr>
        <p:txBody>
          <a:bodyPr/>
          <a:lstStyle>
            <a:lvl1pPr marL="0" indent="0">
              <a:buNone/>
              <a:defRPr sz="700">
                <a:noFill/>
              </a:defRPr>
            </a:lvl1pPr>
          </a:lstStyle>
          <a:p>
            <a:pPr lvl="0"/>
            <a:r>
              <a:rPr lang="nb-NO" dirty="0"/>
              <a:t>.</a:t>
            </a:r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0000" y="622800"/>
            <a:ext cx="10184400" cy="982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 noProof="0" dirty="0"/>
              <a:t>Click to add title. </a:t>
            </a:r>
            <a:br>
              <a:rPr lang="en-GB" noProof="0" dirty="0"/>
            </a:br>
            <a:r>
              <a:rPr lang="nb-NO" noProof="0" dirty="0"/>
              <a:t>Maximum two lines.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0000" y="1951200"/>
            <a:ext cx="10792800" cy="388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nb-NO" noProof="0" dirty="0"/>
              <a:t>Click to add text                                                                                                                                                                                      Enter &amp; TAB to view next text style                                                                                                                                           SHIFT+TAB to view previous text style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B9813ED-2D97-404C-BF27-32E36FE286BD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50000" y="363600"/>
            <a:ext cx="10184400" cy="2268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b="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nb-NO" dirty="0"/>
              <a:t>Click to add chapter</a:t>
            </a:r>
            <a:endParaRPr lang="nb-NO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E6DC9F9-CEFA-4E56-9BE8-6968B0C9233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0000" y="6188400"/>
            <a:ext cx="7664400" cy="316800"/>
          </a:xfrm>
        </p:spPr>
        <p:txBody>
          <a:bodyPr anchor="b" anchorCtr="0"/>
          <a:lstStyle>
            <a:lvl1pPr marL="0" indent="0">
              <a:buNone/>
              <a:defRPr lang="en-US" sz="7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nb-NO" dirty="0"/>
              <a:t>Click to edit source</a:t>
            </a:r>
            <a:endParaRPr lang="nb-NO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809200" y="6188400"/>
            <a:ext cx="2055600" cy="309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Gjensidige Forsikring Group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65600" y="6188400"/>
            <a:ext cx="277200" cy="309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53003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29" userDrawn="1">
          <p15:clr>
            <a:srgbClr val="A4A3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0F90D0-DE3E-4713-B566-C06C7B4F28DA}" type="datetime3">
              <a:rPr lang="nb-NO" smtClean="0"/>
              <a:t>2024.02.14</a:t>
            </a:fld>
            <a:endParaRPr lang="nb-NO"/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6C86B9F5-85D6-D62A-6ECE-158C5B2033D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-1" y="0"/>
            <a:ext cx="12193200" cy="6857999"/>
          </a:xfrm>
          <a:solidFill>
            <a:schemeClr val="bg1">
              <a:lumMod val="85000"/>
            </a:schemeClr>
          </a:solidFill>
        </p:spPr>
        <p:txBody>
          <a:bodyPr lIns="36000" tIns="36000" rIns="36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/>
            </a:lvl1pPr>
          </a:lstStyle>
          <a:p>
            <a:r>
              <a:rPr lang="nb-NO"/>
              <a:t>To insert picture from Templafy click on slide frame and select from Templafy Images.</a:t>
            </a:r>
          </a:p>
          <a:p>
            <a:r>
              <a:rPr lang="nb-NO"/>
              <a:t>To insert picture from local computer, insert text in the title field first to access the picture icon.</a:t>
            </a:r>
          </a:p>
        </p:txBody>
      </p:sp>
      <p:sp>
        <p:nvSpPr>
          <p:cNvPr id="11" name="Text Placeholder logo">
            <a:extLst>
              <a:ext uri="{FF2B5EF4-FFF2-40B4-BE49-F238E27FC236}">
                <a16:creationId xmlns:a16="http://schemas.microsoft.com/office/drawing/2014/main" id="{9B8E0D7C-3C8A-1630-9A0C-C9FC10A7E84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1245816" y="371478"/>
            <a:ext cx="510924" cy="50720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37" b="-137"/>
            </a:stretch>
          </a:blipFill>
        </p:spPr>
        <p:txBody>
          <a:bodyPr/>
          <a:lstStyle>
            <a:lvl1pPr marL="0" indent="0">
              <a:buNone/>
              <a:defRPr sz="700">
                <a:noFill/>
              </a:defRPr>
            </a:lvl1pPr>
          </a:lstStyle>
          <a:p>
            <a:pPr lvl="0"/>
            <a:r>
              <a:rPr lang="nb-NO" dirty="0"/>
              <a:t>.</a:t>
            </a:r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0000" y="622800"/>
            <a:ext cx="10184400" cy="982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 noProof="0" dirty="0"/>
              <a:t>Click to add title. </a:t>
            </a:r>
            <a:br>
              <a:rPr lang="en-GB" noProof="0" dirty="0"/>
            </a:br>
            <a:r>
              <a:rPr lang="nb-NO" noProof="0" dirty="0"/>
              <a:t>Maximum two lines.</a:t>
            </a:r>
            <a:endParaRPr lang="nb-NO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4DBFD812-BD5E-7699-0F21-1CA9C59C0AC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0000" y="1954342"/>
            <a:ext cx="10792800" cy="277200"/>
          </a:xfrm>
        </p:spPr>
        <p:txBody>
          <a:bodyPr tIns="0" anchor="t" anchorCtr="0"/>
          <a:lstStyle>
            <a:lvl1pPr marL="0" indent="0">
              <a:lnSpc>
                <a:spcPct val="100000"/>
              </a:lnSpc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noProof="0" dirty="0"/>
              <a:t>Click to add subtit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0000" y="2343600"/>
            <a:ext cx="10792800" cy="3495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nb-NO" noProof="0" dirty="0"/>
              <a:t>Click to add text                                                                                                                                                                                       Enter &amp; TAB to view next text style                                                                                                                                           SHIFT+TAB to view previous text style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B9813ED-2D97-404C-BF27-32E36FE286BD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50000" y="363600"/>
            <a:ext cx="10184400" cy="2587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b="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nb-NO" dirty="0"/>
              <a:t>Click to add chapter</a:t>
            </a:r>
            <a:endParaRPr lang="nb-NO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E6DC9F9-CEFA-4E56-9BE8-6968B0C9233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0000" y="6188400"/>
            <a:ext cx="7664400" cy="316800"/>
          </a:xfrm>
        </p:spPr>
        <p:txBody>
          <a:bodyPr anchor="b" anchorCtr="0"/>
          <a:lstStyle>
            <a:lvl1pPr marL="0" indent="0">
              <a:buNone/>
              <a:defRPr lang="en-US" sz="7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nb-NO" dirty="0"/>
              <a:t>Click to edit source</a:t>
            </a:r>
            <a:endParaRPr lang="nb-NO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809200" y="6188400"/>
            <a:ext cx="2055600" cy="309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Gjensidige Forsikring Group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65600" y="6188400"/>
            <a:ext cx="277200" cy="309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87477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76" userDrawn="1">
          <p15:clr>
            <a:srgbClr val="A4A3A4"/>
          </p15:clr>
        </p15:guide>
        <p15:guide id="2" orient="horz" pos="1229" userDrawn="1">
          <p15:clr>
            <a:srgbClr val="A4A3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0F90D0-DE3E-4713-B566-C06C7B4F28DA}" type="datetime3">
              <a:rPr lang="nb-NO" smtClean="0"/>
              <a:t>2024.02.14</a:t>
            </a:fld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0000" y="622800"/>
            <a:ext cx="10184400" cy="982800"/>
          </a:xfrm>
        </p:spPr>
        <p:txBody>
          <a:bodyPr/>
          <a:lstStyle/>
          <a:p>
            <a:r>
              <a:rPr lang="nb-NO" noProof="0" dirty="0"/>
              <a:t>Click to add title. </a:t>
            </a:r>
            <a:br>
              <a:rPr lang="en-GB" noProof="0" dirty="0"/>
            </a:br>
            <a:r>
              <a:rPr lang="nb-NO" noProof="0" dirty="0"/>
              <a:t>Maximum two lines.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0000" y="1951200"/>
            <a:ext cx="5169600" cy="388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                                                      Enter &amp; TAB to view next text style                                  SHIFT+TAB to view previous text style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B43E4A7F-5A51-60D5-529B-E12DCEF5A436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073200" y="1951200"/>
            <a:ext cx="5169600" cy="388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                                                      Enter &amp; TAB to view next text style                                  SHIFT+TAB to view previous text style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B9813ED-2D97-404C-BF27-32E36FE286BD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50000" y="363600"/>
            <a:ext cx="10184400" cy="2592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b="0">
                <a:solidFill>
                  <a:schemeClr val="tx2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nb-NO" noProof="0" dirty="0"/>
              <a:t>Hvordan lykkes med generativ AI prototyping ved bruk av Lean </a:t>
            </a:r>
            <a:r>
              <a:rPr lang="nb-NO" noProof="0" dirty="0" err="1"/>
              <a:t>Startup</a:t>
            </a:r>
            <a:r>
              <a:rPr lang="nb-NO" noProof="0" dirty="0"/>
              <a:t> metodikk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E6DC9F9-CEFA-4E56-9BE8-6968B0C9233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0000" y="6188400"/>
            <a:ext cx="7664400" cy="316800"/>
          </a:xfrm>
        </p:spPr>
        <p:txBody>
          <a:bodyPr anchor="b" anchorCtr="0"/>
          <a:lstStyle>
            <a:lvl1pPr marL="0" indent="0">
              <a:buNone/>
              <a:defRPr lang="en-US" sz="7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nb-NO" dirty="0"/>
              <a:t>Click to edit source</a:t>
            </a:r>
            <a:endParaRPr lang="nb-NO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809200" y="6188400"/>
            <a:ext cx="2055600" cy="309600"/>
          </a:xfrm>
        </p:spPr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65600" y="6188400"/>
            <a:ext cx="277200" cy="309600"/>
          </a:xfrm>
        </p:spPr>
        <p:txBody>
          <a:bodyPr/>
          <a:lstStyle/>
          <a:p>
            <a:fld id="{23AA811B-2EBD-4900-905E-5BE20644961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563836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25" userDrawn="1">
          <p15:clr>
            <a:srgbClr val="A4A3A4"/>
          </p15:clr>
        </p15:guide>
        <p15:guide id="2" pos="3539" userDrawn="1">
          <p15:clr>
            <a:srgbClr val="A4A3A4"/>
          </p15:clr>
        </p15:guide>
        <p15:guide id="3" orient="horz" pos="1229" userDrawn="1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 B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8" hidden="1">
            <a:extLst>
              <a:ext uri="{FF2B5EF4-FFF2-40B4-BE49-F238E27FC236}">
                <a16:creationId xmlns:a16="http://schemas.microsoft.com/office/drawing/2014/main" id="{673DCDBB-5378-5C72-3B3C-7D17B1822C5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Gjensidige Forsikring Group</a:t>
            </a:r>
          </a:p>
        </p:txBody>
      </p:sp>
      <p:sp>
        <p:nvSpPr>
          <p:cNvPr id="7" name="Slide Number Placeholder 10" hidden="1">
            <a:extLst>
              <a:ext uri="{FF2B5EF4-FFF2-40B4-BE49-F238E27FC236}">
                <a16:creationId xmlns:a16="http://schemas.microsoft.com/office/drawing/2014/main" id="{D10743B3-7AB6-E406-8FE0-08C1F6CB158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Background">
            <a:extLst>
              <a:ext uri="{FF2B5EF4-FFF2-40B4-BE49-F238E27FC236}">
                <a16:creationId xmlns:a16="http://schemas.microsoft.com/office/drawing/2014/main" id="{385045A9-45C8-AF51-D91B-A0B2DDBDBD1B}"/>
              </a:ext>
            </a:extLst>
          </p:cNvPr>
          <p:cNvSpPr/>
          <p:nvPr userDrawn="1"/>
        </p:nvSpPr>
        <p:spPr bwMode="ltGray">
          <a:xfrm>
            <a:off x="0" y="0"/>
            <a:ext cx="121932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0" tIns="270000" rIns="270000" bIns="270000" rtlCol="0" anchor="ctr"/>
          <a:lstStyle/>
          <a:p>
            <a:pPr algn="ctr"/>
            <a:endParaRPr lang="nb-NO" sz="1600" noProof="0">
              <a:solidFill>
                <a:schemeClr val="bg1"/>
              </a:solidFill>
            </a:endParaRP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821A11AC-9956-49D6-5AE0-0A82F638F3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886286" y="251489"/>
            <a:ext cx="2051998" cy="50864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253437" y="1692767"/>
            <a:ext cx="11706622" cy="3922966"/>
          </a:xfrm>
        </p:spPr>
        <p:txBody>
          <a:bodyPr anchor="b"/>
          <a:lstStyle>
            <a:lvl1pPr indent="1008202" algn="l">
              <a:lnSpc>
                <a:spcPct val="90000"/>
              </a:lnSpc>
              <a:defRPr sz="9002">
                <a:solidFill>
                  <a:srgbClr val="F4FFAF"/>
                </a:solidFill>
              </a:defRPr>
            </a:lvl1pPr>
          </a:lstStyle>
          <a:p>
            <a:r>
              <a:rPr lang="nb-NO" dirty="0"/>
              <a:t>Click to add short title</a:t>
            </a:r>
            <a:endParaRPr lang="nb-NO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253437" y="6306280"/>
            <a:ext cx="9144000" cy="36199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rgbClr val="F4FFAF"/>
                </a:solidFill>
                <a:latin typeface="Gjensidige Type" pitchFamily="50" charset="0"/>
                <a:ea typeface="Arial" pitchFamily="34" charset="0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dirty="0"/>
              <a:t>Click to add short subheading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AB8759-1E7B-5CBF-547C-0EB4AC0097F0}"/>
              </a:ext>
            </a:extLst>
          </p:cNvPr>
          <p:cNvSpPr>
            <a:spLocks noGrp="1"/>
          </p:cNvSpPr>
          <p:nvPr>
            <p:ph type="dt" sz="half" idx="11"/>
          </p:nvPr>
        </p:nvSpPr>
        <p:spPr bwMode="white">
          <a:xfrm>
            <a:off x="9651667" y="6447258"/>
            <a:ext cx="2308391" cy="221018"/>
          </a:xfrm>
        </p:spPr>
        <p:txBody>
          <a:bodyPr bIns="36000"/>
          <a:lstStyle>
            <a:lvl1pPr algn="r">
              <a:defRPr sz="1200">
                <a:solidFill>
                  <a:srgbClr val="F4FFAF"/>
                </a:solidFill>
                <a:latin typeface="Gjensidige Type" pitchFamily="50" charset="0"/>
                <a:ea typeface="Arial" pitchFamily="34" charset="0"/>
              </a:defRPr>
            </a:lvl1pPr>
          </a:lstStyle>
          <a:p>
            <a:r>
              <a:rPr lang="nb-NO"/>
              <a:t>Date, Month Year</a:t>
            </a:r>
          </a:p>
        </p:txBody>
      </p:sp>
    </p:spTree>
    <p:extLst>
      <p:ext uri="{BB962C8B-B14F-4D97-AF65-F5344CB8AC3E}">
        <p14:creationId xmlns:p14="http://schemas.microsoft.com/office/powerpoint/2010/main" val="13680780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1066" userDrawn="1">
          <p15:clr>
            <a:srgbClr val="A4A3A4"/>
          </p15:clr>
        </p15:guide>
        <p15:guide id="2" orient="horz" pos="3537" userDrawn="1">
          <p15:clr>
            <a:srgbClr val="A4A3A4"/>
          </p15:clr>
        </p15:guide>
        <p15:guide id="3" pos="159" userDrawn="1">
          <p15:clr>
            <a:srgbClr val="A4A3A4"/>
          </p15:clr>
        </p15:guide>
        <p15:guide id="5" orient="horz" pos="4201" userDrawn="1">
          <p15:clr>
            <a:srgbClr val="A4A3A4"/>
          </p15:clr>
        </p15:guide>
        <p15:guide id="6" pos="7534" userDrawn="1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0000" y="622800"/>
            <a:ext cx="10184400" cy="982800"/>
          </a:xfrm>
        </p:spPr>
        <p:txBody>
          <a:bodyPr/>
          <a:lstStyle/>
          <a:p>
            <a:r>
              <a:rPr lang="nb-NO" noProof="0" dirty="0"/>
              <a:t>Click to add title. </a:t>
            </a:r>
            <a:br>
              <a:rPr lang="en-GB" noProof="0" dirty="0"/>
            </a:br>
            <a:r>
              <a:rPr lang="nb-NO" noProof="0" dirty="0"/>
              <a:t>Maximum two lines.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0000" y="2343600"/>
            <a:ext cx="5169600" cy="349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                                                      Enter &amp; TAB to view next text style                                  SHIFT+TAB to view previous text style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B9813ED-2D97-404C-BF27-32E36FE286BD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50000" y="363600"/>
            <a:ext cx="10184400" cy="2592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b="0">
                <a:solidFill>
                  <a:schemeClr val="tx2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nb-NO" dirty="0"/>
              <a:t>Click to add chapter</a:t>
            </a:r>
            <a:endParaRPr lang="nb-NO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E6DC9F9-CEFA-4E56-9BE8-6968B0C9233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0000" y="6188400"/>
            <a:ext cx="7664400" cy="316800"/>
          </a:xfrm>
        </p:spPr>
        <p:txBody>
          <a:bodyPr anchor="b" anchorCtr="0"/>
          <a:lstStyle>
            <a:lvl1pPr marL="0" indent="0">
              <a:buNone/>
              <a:defRPr lang="en-US" sz="7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nb-NO" dirty="0"/>
              <a:t>Click to edit source</a:t>
            </a:r>
            <a:endParaRPr lang="nb-NO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809200" y="6188400"/>
            <a:ext cx="2055600" cy="309600"/>
          </a:xfrm>
        </p:spPr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65600" y="6188400"/>
            <a:ext cx="277200" cy="309600"/>
          </a:xfrm>
        </p:spPr>
        <p:txBody>
          <a:bodyPr/>
          <a:lstStyle/>
          <a:p>
            <a:fld id="{23AA811B-2EBD-4900-905E-5BE206449611}" type="slidenum">
              <a:rPr lang="nb-NO" smtClean="0"/>
              <a:t>‹#›</a:t>
            </a:fld>
            <a:endParaRPr lang="nb-NO"/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0F90D0-DE3E-4713-B566-C06C7B4F28DA}" type="datetime3">
              <a:rPr lang="nb-NO" smtClean="0"/>
              <a:t>2024.02.14</a:t>
            </a:fld>
            <a:endParaRPr lang="nb-NO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4DBFD812-BD5E-7699-0F21-1CA9C59C0AC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0000" y="1954342"/>
            <a:ext cx="5169600" cy="277200"/>
          </a:xfrm>
        </p:spPr>
        <p:txBody>
          <a:bodyPr tIns="0" anchor="t" anchorCtr="0"/>
          <a:lstStyle>
            <a:lvl1pPr marL="0" indent="0">
              <a:lnSpc>
                <a:spcPct val="100000"/>
              </a:lnSpc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noProof="0" dirty="0"/>
              <a:t>Click to add subtitle</a:t>
            </a:r>
            <a:endParaRPr lang="nb-NO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8917302-AC3D-2F78-877E-4EBCB5B71D23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073200" y="2343600"/>
            <a:ext cx="5169600" cy="34952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                                                      Enter &amp; TAB to view next text style                                  SHIFT+TAB to view previous text style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4DD551F3-1DF7-66AB-684E-DFD23206DE6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73200" y="1954342"/>
            <a:ext cx="5169600" cy="277200"/>
          </a:xfrm>
        </p:spPr>
        <p:txBody>
          <a:bodyPr tIns="0" anchor="t" anchorCtr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lvl="0"/>
            <a:r>
              <a:rPr lang="nb-NO" dirty="0"/>
              <a:t>Click to add subtit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156241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76" userDrawn="1">
          <p15:clr>
            <a:srgbClr val="A4A3A4"/>
          </p15:clr>
        </p15:guide>
        <p15:guide id="2" pos="3825" userDrawn="1">
          <p15:clr>
            <a:srgbClr val="A4A3A4"/>
          </p15:clr>
        </p15:guide>
        <p15:guide id="3" pos="3539" userDrawn="1">
          <p15:clr>
            <a:srgbClr val="A4A3A4"/>
          </p15:clr>
        </p15:guide>
        <p15:guide id="4" orient="horz" pos="1229" userDrawn="1">
          <p15:clr>
            <a:srgbClr val="A4A3A4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one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0000" y="622800"/>
            <a:ext cx="10184400" cy="982800"/>
          </a:xfrm>
        </p:spPr>
        <p:txBody>
          <a:bodyPr/>
          <a:lstStyle/>
          <a:p>
            <a:r>
              <a:rPr lang="nb-NO" noProof="0" dirty="0"/>
              <a:t>Click to add title. </a:t>
            </a:r>
            <a:br>
              <a:rPr lang="en-GB" noProof="0" dirty="0"/>
            </a:br>
            <a:r>
              <a:rPr lang="nb-NO" noProof="0" dirty="0"/>
              <a:t>Maximum two lines.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0000" y="2343600"/>
            <a:ext cx="5169600" cy="349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                                                      Enter &amp; TAB to view next text style                                  SHIFT+TAB to view previous text style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B9813ED-2D97-404C-BF27-32E36FE286BD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50000" y="363600"/>
            <a:ext cx="10184400" cy="2592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b="0">
                <a:solidFill>
                  <a:schemeClr val="tx2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nb-NO" dirty="0"/>
              <a:t>Click to add chapter</a:t>
            </a:r>
            <a:endParaRPr lang="nb-NO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E6DC9F9-CEFA-4E56-9BE8-6968B0C9233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0000" y="6188400"/>
            <a:ext cx="7664400" cy="316800"/>
          </a:xfrm>
        </p:spPr>
        <p:txBody>
          <a:bodyPr anchor="b" anchorCtr="0"/>
          <a:lstStyle>
            <a:lvl1pPr marL="0" indent="0">
              <a:buNone/>
              <a:defRPr lang="en-US" sz="7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nb-NO" dirty="0"/>
              <a:t>Click to edit source</a:t>
            </a:r>
            <a:endParaRPr lang="nb-NO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809200" y="6188400"/>
            <a:ext cx="2055600" cy="309600"/>
          </a:xfrm>
        </p:spPr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65600" y="6188400"/>
            <a:ext cx="277200" cy="309600"/>
          </a:xfrm>
        </p:spPr>
        <p:txBody>
          <a:bodyPr/>
          <a:lstStyle/>
          <a:p>
            <a:fld id="{23AA811B-2EBD-4900-905E-5BE206449611}" type="slidenum">
              <a:rPr lang="nb-NO" smtClean="0"/>
              <a:t>‹#›</a:t>
            </a:fld>
            <a:endParaRPr lang="nb-NO"/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0F90D0-DE3E-4713-B566-C06C7B4F28DA}" type="datetime3">
              <a:rPr lang="nb-NO" smtClean="0"/>
              <a:t>2024.02.14</a:t>
            </a:fld>
            <a:endParaRPr lang="nb-NO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4DBFD812-BD5E-7699-0F21-1CA9C59C0AC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0000" y="1954342"/>
            <a:ext cx="10792800" cy="277200"/>
          </a:xfrm>
        </p:spPr>
        <p:txBody>
          <a:bodyPr tIns="0" anchor="t" anchorCtr="0"/>
          <a:lstStyle>
            <a:lvl1pPr marL="0" indent="0">
              <a:lnSpc>
                <a:spcPct val="100000"/>
              </a:lnSpc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noProof="0" dirty="0"/>
              <a:t>Click to add subtitle</a:t>
            </a:r>
            <a:endParaRPr lang="nb-NO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8917302-AC3D-2F78-877E-4EBCB5B71D23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073200" y="2343600"/>
            <a:ext cx="5169600" cy="34952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                                                      Enter &amp; TAB to view next text style                                  SHIFT+TAB to view previous text style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916954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76" userDrawn="1">
          <p15:clr>
            <a:srgbClr val="A4A3A4"/>
          </p15:clr>
        </p15:guide>
        <p15:guide id="2" pos="3825" userDrawn="1">
          <p15:clr>
            <a:srgbClr val="A4A3A4"/>
          </p15:clr>
        </p15:guide>
        <p15:guide id="3" pos="3539" userDrawn="1">
          <p15:clr>
            <a:srgbClr val="A4A3A4"/>
          </p15:clr>
        </p15:guide>
        <p15:guide id="4" orient="horz" pos="1229" userDrawn="1">
          <p15:clr>
            <a:srgbClr val="A4A3A4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0F90D0-DE3E-4713-B566-C06C7B4F28DA}" type="datetime3">
              <a:rPr lang="nb-NO" smtClean="0"/>
              <a:t>2024.02.14</a:t>
            </a:fld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0000" y="622800"/>
            <a:ext cx="10184400" cy="982800"/>
          </a:xfrm>
        </p:spPr>
        <p:txBody>
          <a:bodyPr/>
          <a:lstStyle/>
          <a:p>
            <a:r>
              <a:rPr lang="nb-NO" noProof="0" dirty="0"/>
              <a:t>Click to add title. </a:t>
            </a:r>
            <a:br>
              <a:rPr lang="en-GB" noProof="0" dirty="0"/>
            </a:br>
            <a:r>
              <a:rPr lang="nb-NO" noProof="0" dirty="0"/>
              <a:t>Maximum two lines.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0000" y="2343600"/>
            <a:ext cx="3340800" cy="349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                Enter &amp; TAB to view next text style                                     SHIFT+TAB to view previous text style</a:t>
            </a:r>
            <a:endParaRPr lang="nb-NO"/>
          </a:p>
          <a:p>
            <a:pPr lvl="1"/>
            <a:endParaRPr lang="nb-NO" noProof="0" dirty="0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4DBFD812-BD5E-7699-0F21-1CA9C59C0AC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0000" y="1954342"/>
            <a:ext cx="3340800" cy="277200"/>
          </a:xfrm>
        </p:spPr>
        <p:txBody>
          <a:bodyPr tIns="0" anchor="t" anchorCtr="0"/>
          <a:lstStyle>
            <a:lvl1pPr marL="0" indent="0">
              <a:lnSpc>
                <a:spcPct val="100000"/>
              </a:lnSpc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noProof="0" dirty="0"/>
              <a:t>Click to add subtitle</a:t>
            </a:r>
            <a:endParaRPr lang="nb-NO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8917302-AC3D-2F78-877E-4EBCB5B71D23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76000" y="2343600"/>
            <a:ext cx="3340800" cy="34952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                Enter &amp; TAB to view next text style                                     SHIFT+TAB to view previous text style</a:t>
            </a:r>
            <a:endParaRPr lang="nb-NO"/>
          </a:p>
          <a:p>
            <a:pPr lvl="1"/>
            <a:endParaRPr lang="nb-NO" noProof="0" dirty="0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4DD551F3-1DF7-66AB-684E-DFD23206DE6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76000" y="1954342"/>
            <a:ext cx="3340800" cy="277200"/>
          </a:xfrm>
        </p:spPr>
        <p:txBody>
          <a:bodyPr tIns="0" anchor="t" anchorCtr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lvl="0"/>
            <a:r>
              <a:rPr lang="nb-NO" dirty="0"/>
              <a:t>Click to add subtitle</a:t>
            </a:r>
            <a:endParaRPr lang="nb-NO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A3824544-F3BF-4D53-5D97-B7FFF25D79FA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7902000" y="2343600"/>
            <a:ext cx="3340800" cy="349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                Enter &amp; TAB to view next text style                                     SHIFT+TAB to view previous text style</a:t>
            </a:r>
            <a:endParaRPr lang="nb-NO"/>
          </a:p>
          <a:p>
            <a:pPr lvl="1"/>
            <a:endParaRPr lang="nb-NO" noProof="0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ECA3D2B-6759-F169-55B5-745BFC9105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902000" y="1954342"/>
            <a:ext cx="3340800" cy="277200"/>
          </a:xfrm>
        </p:spPr>
        <p:txBody>
          <a:bodyPr tIns="0" anchor="t" anchorCtr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lvl="0"/>
            <a:r>
              <a:rPr lang="nb-NO" dirty="0"/>
              <a:t>Click to add subtitle</a:t>
            </a:r>
            <a:endParaRPr lang="nb-NO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B9813ED-2D97-404C-BF27-32E36FE286BD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50000" y="363600"/>
            <a:ext cx="10184400" cy="2592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b="0">
                <a:solidFill>
                  <a:schemeClr val="tx2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nb-NO" dirty="0"/>
              <a:t>Click to add chapter</a:t>
            </a:r>
            <a:endParaRPr lang="nb-NO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E6DC9F9-CEFA-4E56-9BE8-6968B0C9233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0000" y="6188400"/>
            <a:ext cx="7664400" cy="316800"/>
          </a:xfrm>
        </p:spPr>
        <p:txBody>
          <a:bodyPr anchor="b" anchorCtr="0"/>
          <a:lstStyle>
            <a:lvl1pPr marL="0" indent="0">
              <a:buNone/>
              <a:defRPr lang="en-US" sz="7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nb-NO" dirty="0"/>
              <a:t>Click to edit source</a:t>
            </a:r>
            <a:endParaRPr lang="nb-NO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809200" y="6188400"/>
            <a:ext cx="2055600" cy="309600"/>
          </a:xfrm>
        </p:spPr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65600" y="6188400"/>
            <a:ext cx="277200" cy="309600"/>
          </a:xfrm>
        </p:spPr>
        <p:txBody>
          <a:bodyPr/>
          <a:lstStyle/>
          <a:p>
            <a:fld id="{23AA811B-2EBD-4900-905E-5BE20644961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979483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76" userDrawn="1">
          <p15:clr>
            <a:srgbClr val="A4A3A4"/>
          </p15:clr>
        </p15:guide>
        <p15:guide id="2" pos="4737" userDrawn="1">
          <p15:clr>
            <a:srgbClr val="A4A3A4"/>
          </p15:clr>
        </p15:guide>
        <p15:guide id="3" pos="2388" userDrawn="1">
          <p15:clr>
            <a:srgbClr val="A4A3A4"/>
          </p15:clr>
        </p15:guide>
        <p15:guide id="4" pos="4977" userDrawn="1">
          <p15:clr>
            <a:srgbClr val="A4A3A4"/>
          </p15:clr>
        </p15:guide>
        <p15:guide id="5" pos="2630" userDrawn="1">
          <p15:clr>
            <a:srgbClr val="A4A3A4"/>
          </p15:clr>
        </p15:guide>
        <p15:guide id="6" orient="horz" pos="1229" userDrawn="1">
          <p15:clr>
            <a:srgbClr val="A4A3A4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0F90D0-DE3E-4713-B566-C06C7B4F28DA}" type="datetime3">
              <a:rPr lang="nb-NO" smtClean="0"/>
              <a:t>2024.02.14</a:t>
            </a:fld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0000" y="622800"/>
            <a:ext cx="10184400" cy="982800"/>
          </a:xfrm>
        </p:spPr>
        <p:txBody>
          <a:bodyPr/>
          <a:lstStyle/>
          <a:p>
            <a:r>
              <a:rPr lang="nb-NO" noProof="0" dirty="0"/>
              <a:t>Click to add title. </a:t>
            </a:r>
            <a:br>
              <a:rPr lang="en-GB" noProof="0" dirty="0"/>
            </a:br>
            <a:r>
              <a:rPr lang="nb-NO" noProof="0" dirty="0"/>
              <a:t>Maximum two lines.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0000" y="1951038"/>
            <a:ext cx="3340800" cy="3888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                Enter &amp; TAB to view next text style                                     SHIFT+TAB to view previous text style</a:t>
            </a:r>
            <a:endParaRPr lang="nb-NO"/>
          </a:p>
          <a:p>
            <a:pPr lvl="1"/>
            <a:endParaRPr lang="nb-NO" noProof="0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8917302-AC3D-2F78-877E-4EBCB5B71D23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76000" y="1951080"/>
            <a:ext cx="3340800" cy="388774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                Enter &amp; TAB to view next text style                                     SHIFT+TAB to view previous text style</a:t>
            </a:r>
            <a:endParaRPr lang="nb-NO"/>
          </a:p>
          <a:p>
            <a:pPr lvl="1"/>
            <a:endParaRPr lang="nb-NO" noProof="0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A3824544-F3BF-4D53-5D97-B7FFF25D79FA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7902000" y="1951038"/>
            <a:ext cx="3340800" cy="3888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                Enter &amp; TAB to view next text style                                     SHIFT+TAB to view previous text style</a:t>
            </a:r>
            <a:endParaRPr lang="nb-NO"/>
          </a:p>
          <a:p>
            <a:pPr lvl="1"/>
            <a:endParaRPr lang="nb-NO" noProof="0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B9813ED-2D97-404C-BF27-32E36FE286BD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50000" y="363600"/>
            <a:ext cx="10184400" cy="2587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b="0">
                <a:solidFill>
                  <a:schemeClr val="tx2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nb-NO" dirty="0"/>
              <a:t>Click to add chapter</a:t>
            </a:r>
            <a:endParaRPr lang="nb-NO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E6DC9F9-CEFA-4E56-9BE8-6968B0C9233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0000" y="6188400"/>
            <a:ext cx="7664400" cy="316800"/>
          </a:xfrm>
        </p:spPr>
        <p:txBody>
          <a:bodyPr anchor="b" anchorCtr="0"/>
          <a:lstStyle>
            <a:lvl1pPr marL="0" indent="0">
              <a:buNone/>
              <a:defRPr lang="en-US" sz="7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nb-NO" dirty="0"/>
              <a:t>Click to edit source</a:t>
            </a:r>
            <a:endParaRPr lang="nb-NO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809200" y="6188400"/>
            <a:ext cx="2055600" cy="309600"/>
          </a:xfrm>
        </p:spPr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65600" y="6188400"/>
            <a:ext cx="277200" cy="309600"/>
          </a:xfrm>
        </p:spPr>
        <p:txBody>
          <a:bodyPr/>
          <a:lstStyle/>
          <a:p>
            <a:fld id="{23AA811B-2EBD-4900-905E-5BE20644961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620777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737" userDrawn="1">
          <p15:clr>
            <a:srgbClr val="A4A3A4"/>
          </p15:clr>
        </p15:guide>
        <p15:guide id="3" pos="2388" userDrawn="1">
          <p15:clr>
            <a:srgbClr val="A4A3A4"/>
          </p15:clr>
        </p15:guide>
        <p15:guide id="4" pos="4977" userDrawn="1">
          <p15:clr>
            <a:srgbClr val="A4A3A4"/>
          </p15:clr>
        </p15:guide>
        <p15:guide id="5" pos="2630" userDrawn="1">
          <p15:clr>
            <a:srgbClr val="A4A3A4"/>
          </p15:clr>
        </p15:guide>
        <p15:guide id="6" orient="horz" pos="1229" userDrawn="1">
          <p15:clr>
            <a:srgbClr val="A4A3A4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0F90D0-DE3E-4713-B566-C06C7B4F28DA}" type="datetime3">
              <a:rPr lang="nb-NO" smtClean="0"/>
              <a:t>2024.02.14</a:t>
            </a:fld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0000" y="622800"/>
            <a:ext cx="10184400" cy="982800"/>
          </a:xfrm>
        </p:spPr>
        <p:txBody>
          <a:bodyPr/>
          <a:lstStyle/>
          <a:p>
            <a:r>
              <a:rPr lang="nb-NO" noProof="0" dirty="0"/>
              <a:t>Click to add title. </a:t>
            </a:r>
            <a:br>
              <a:rPr lang="en-GB" noProof="0" dirty="0"/>
            </a:br>
            <a:r>
              <a:rPr lang="nb-NO" noProof="0" dirty="0"/>
              <a:t>Maximum two lines.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0000" y="2343150"/>
            <a:ext cx="5169600" cy="34960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                                                      Enter &amp; TAB to view next text style                                  SHIFT+TAB to view previous text style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4DBFD812-BD5E-7699-0F21-1CA9C59C0AC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0000" y="1954342"/>
            <a:ext cx="5169600" cy="277200"/>
          </a:xfrm>
        </p:spPr>
        <p:txBody>
          <a:bodyPr tIns="0" anchor="t" anchorCtr="0"/>
          <a:lstStyle>
            <a:lvl1pPr marL="0" indent="0">
              <a:lnSpc>
                <a:spcPct val="90000"/>
              </a:lnSpc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noProof="0" dirty="0"/>
              <a:t>Click to add subtitle</a:t>
            </a:r>
            <a:endParaRPr lang="nb-NO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8917302-AC3D-2F78-877E-4EBCB5B71D23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073200" y="2343150"/>
            <a:ext cx="5169600" cy="13648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                                                      Enter &amp; TAB to view next text style                                  SHIFT+TAB to view previous text style</a:t>
            </a:r>
            <a:endParaRPr lang="nb-NO"/>
          </a:p>
          <a:p>
            <a:pPr lvl="1"/>
            <a:endParaRPr lang="nb-NO" noProof="0" dirty="0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4DD551F3-1DF7-66AB-684E-DFD23206DE6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73200" y="1954342"/>
            <a:ext cx="5169600" cy="277200"/>
          </a:xfrm>
        </p:spPr>
        <p:txBody>
          <a:bodyPr tIns="0" anchor="t" anchorCtr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lvl="0"/>
            <a:r>
              <a:rPr lang="nb-NO" dirty="0"/>
              <a:t>Click to add subtitle</a:t>
            </a:r>
            <a:endParaRPr lang="nb-NO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A3824544-F3BF-4D53-5D97-B7FFF25D79FA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073200" y="4474800"/>
            <a:ext cx="5169600" cy="136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                                                      Enter &amp; TAB to view next text style                                  SHIFT+TAB to view previous text style</a:t>
            </a:r>
            <a:endParaRPr lang="nb-NO"/>
          </a:p>
          <a:p>
            <a:pPr lvl="1"/>
            <a:endParaRPr lang="nb-NO" noProof="0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ECA3D2B-6759-F169-55B5-745BFC9105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73200" y="4089600"/>
            <a:ext cx="5169600" cy="277200"/>
          </a:xfrm>
        </p:spPr>
        <p:txBody>
          <a:bodyPr tIns="0" anchor="t" anchorCtr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lvl="0"/>
            <a:r>
              <a:rPr lang="nb-NO" dirty="0"/>
              <a:t>Click to add subtitle</a:t>
            </a:r>
            <a:endParaRPr lang="nb-NO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B9813ED-2D97-404C-BF27-32E36FE286BD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50000" y="363600"/>
            <a:ext cx="10184400" cy="2592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b="0">
                <a:solidFill>
                  <a:schemeClr val="tx2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nb-NO" dirty="0"/>
              <a:t>Click to add chapter</a:t>
            </a:r>
            <a:endParaRPr lang="nb-NO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E6DC9F9-CEFA-4E56-9BE8-6968B0C9233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0000" y="6188400"/>
            <a:ext cx="7664400" cy="316800"/>
          </a:xfrm>
        </p:spPr>
        <p:txBody>
          <a:bodyPr anchor="b" anchorCtr="0"/>
          <a:lstStyle>
            <a:lvl1pPr marL="0" indent="0">
              <a:buNone/>
              <a:defRPr lang="en-US" sz="7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nb-NO" dirty="0"/>
              <a:t>Click to edit source</a:t>
            </a:r>
            <a:endParaRPr lang="nb-NO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809200" y="6188400"/>
            <a:ext cx="2055600" cy="309600"/>
          </a:xfrm>
        </p:spPr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65600" y="6188400"/>
            <a:ext cx="277200" cy="309600"/>
          </a:xfrm>
        </p:spPr>
        <p:txBody>
          <a:bodyPr/>
          <a:lstStyle/>
          <a:p>
            <a:fld id="{23AA811B-2EBD-4900-905E-5BE20644961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640241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540" userDrawn="1">
          <p15:clr>
            <a:srgbClr val="A4A3A4"/>
          </p15:clr>
        </p15:guide>
        <p15:guide id="6" pos="3825" userDrawn="1">
          <p15:clr>
            <a:srgbClr val="A4A3A4"/>
          </p15:clr>
        </p15:guide>
        <p15:guide id="7" orient="horz" pos="2576" userDrawn="1">
          <p15:clr>
            <a:srgbClr val="A4A3A4"/>
          </p15:clr>
        </p15:guide>
        <p15:guide id="8" orient="horz" pos="2818" userDrawn="1">
          <p15:clr>
            <a:srgbClr val="A4A3A4"/>
          </p15:clr>
        </p15:guide>
        <p15:guide id="9" orient="horz" pos="2336" userDrawn="1">
          <p15:clr>
            <a:srgbClr val="A4A3A4"/>
          </p15:clr>
        </p15:guide>
        <p15:guide id="10" orient="horz" pos="1476" userDrawn="1">
          <p15:clr>
            <a:srgbClr val="A4A3A4"/>
          </p15:clr>
        </p15:guide>
        <p15:guide id="11" orient="horz" pos="1229" userDrawn="1">
          <p15:clr>
            <a:srgbClr val="A4A3A4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0F90D0-DE3E-4713-B566-C06C7B4F28DA}" type="datetime3">
              <a:rPr lang="nb-NO" smtClean="0"/>
              <a:t>2024.02.14</a:t>
            </a:fld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0000" y="622800"/>
            <a:ext cx="10184400" cy="982800"/>
          </a:xfrm>
        </p:spPr>
        <p:txBody>
          <a:bodyPr/>
          <a:lstStyle/>
          <a:p>
            <a:r>
              <a:rPr lang="nb-NO" noProof="0" dirty="0"/>
              <a:t>Click to add title. </a:t>
            </a:r>
            <a:br>
              <a:rPr lang="en-GB" noProof="0" dirty="0"/>
            </a:br>
            <a:r>
              <a:rPr lang="nb-NO" noProof="0" dirty="0"/>
              <a:t>Maximum two lines.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0000" y="1951038"/>
            <a:ext cx="5169600" cy="3888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                                                      Enter &amp; TAB to view next text style                                  SHIFT+TAB to view previous text style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8917302-AC3D-2F78-877E-4EBCB5B71D23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073200" y="1954800"/>
            <a:ext cx="5169600" cy="17532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                                                      Enter &amp; TAB to view next text style                                  SHIFT+TAB to view previous text style</a:t>
            </a:r>
            <a:endParaRPr lang="nb-NO"/>
          </a:p>
          <a:p>
            <a:pPr lvl="1"/>
            <a:endParaRPr lang="nb-NO" noProof="0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A3824544-F3BF-4D53-5D97-B7FFF25D79FA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073200" y="4086000"/>
            <a:ext cx="5169600" cy="17532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                                                      Enter &amp; TAB to view next text style                                  SHIFT+TAB to view previous text style</a:t>
            </a:r>
            <a:endParaRPr lang="nb-NO"/>
          </a:p>
          <a:p>
            <a:pPr lvl="1"/>
            <a:endParaRPr lang="nb-NO" noProof="0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B9813ED-2D97-404C-BF27-32E36FE286BD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50000" y="363600"/>
            <a:ext cx="10184400" cy="2592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b="0">
                <a:solidFill>
                  <a:schemeClr val="tx2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nb-NO" dirty="0"/>
              <a:t>Click to add chapter</a:t>
            </a:r>
            <a:endParaRPr lang="nb-NO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E6DC9F9-CEFA-4E56-9BE8-6968B0C9233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0000" y="6188400"/>
            <a:ext cx="7664400" cy="316800"/>
          </a:xfrm>
        </p:spPr>
        <p:txBody>
          <a:bodyPr anchor="b" anchorCtr="0"/>
          <a:lstStyle>
            <a:lvl1pPr marL="0" indent="0">
              <a:buNone/>
              <a:defRPr lang="en-US" sz="7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nb-NO" dirty="0"/>
              <a:t>Click to edit source</a:t>
            </a:r>
            <a:endParaRPr lang="nb-NO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809200" y="6188400"/>
            <a:ext cx="2055600" cy="309600"/>
          </a:xfrm>
        </p:spPr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65600" y="6188400"/>
            <a:ext cx="277200" cy="309600"/>
          </a:xfrm>
        </p:spPr>
        <p:txBody>
          <a:bodyPr/>
          <a:lstStyle/>
          <a:p>
            <a:fld id="{23AA811B-2EBD-4900-905E-5BE20644961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620151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540" userDrawn="1">
          <p15:clr>
            <a:srgbClr val="A4A3A4"/>
          </p15:clr>
        </p15:guide>
        <p15:guide id="6" pos="3825" userDrawn="1">
          <p15:clr>
            <a:srgbClr val="A4A3A4"/>
          </p15:clr>
        </p15:guide>
        <p15:guide id="7" orient="horz" pos="2573" userDrawn="1">
          <p15:clr>
            <a:srgbClr val="A4A3A4"/>
          </p15:clr>
        </p15:guide>
        <p15:guide id="8" orient="horz" pos="2336" userDrawn="1">
          <p15:clr>
            <a:srgbClr val="A4A3A4"/>
          </p15:clr>
        </p15:guide>
        <p15:guide id="9" orient="horz" pos="1229" userDrawn="1">
          <p15:clr>
            <a:srgbClr val="A4A3A4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0F90D0-DE3E-4713-B566-C06C7B4F28DA}" type="datetime3">
              <a:rPr lang="nb-NO" smtClean="0"/>
              <a:t>2024.02.14</a:t>
            </a:fld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0000" y="622800"/>
            <a:ext cx="10184400" cy="982800"/>
          </a:xfrm>
        </p:spPr>
        <p:txBody>
          <a:bodyPr/>
          <a:lstStyle/>
          <a:p>
            <a:r>
              <a:rPr lang="nb-NO" noProof="0" dirty="0"/>
              <a:t>Click to add title. </a:t>
            </a:r>
            <a:br>
              <a:rPr lang="en-GB" noProof="0" dirty="0"/>
            </a:br>
            <a:r>
              <a:rPr lang="nb-NO" noProof="0" dirty="0"/>
              <a:t>Maximum two lines.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73200" y="2343150"/>
            <a:ext cx="5169600" cy="34960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                                                      Enter &amp; TAB to view next text style                                  SHIFT+TAB to view previous text style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4DBFD812-BD5E-7699-0F21-1CA9C59C0AC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73200" y="1954342"/>
            <a:ext cx="5169600" cy="277200"/>
          </a:xfrm>
        </p:spPr>
        <p:txBody>
          <a:bodyPr tIns="0" anchor="t" anchorCtr="0"/>
          <a:lstStyle>
            <a:lvl1pPr marL="0" indent="0">
              <a:lnSpc>
                <a:spcPct val="90000"/>
              </a:lnSpc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noProof="0" dirty="0"/>
              <a:t>Click to add subtitle</a:t>
            </a:r>
            <a:endParaRPr lang="nb-NO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8917302-AC3D-2F78-877E-4EBCB5B71D23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50000" y="2343150"/>
            <a:ext cx="5169600" cy="13648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                                                      Enter &amp; TAB to view next text style                                  SHIFT+TAB to view previous text style</a:t>
            </a:r>
            <a:endParaRPr lang="nb-NO"/>
          </a:p>
          <a:p>
            <a:pPr lvl="1"/>
            <a:endParaRPr lang="nb-NO" noProof="0" dirty="0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4DD551F3-1DF7-66AB-684E-DFD23206DE6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0000" y="1954342"/>
            <a:ext cx="5169600" cy="277200"/>
          </a:xfrm>
        </p:spPr>
        <p:txBody>
          <a:bodyPr tIns="0" anchor="t" anchorCtr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lvl="0"/>
            <a:r>
              <a:rPr lang="nb-NO" dirty="0"/>
              <a:t>Click to add subtitle</a:t>
            </a:r>
            <a:endParaRPr lang="nb-NO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A3824544-F3BF-4D53-5D97-B7FFF25D79FA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50000" y="4474800"/>
            <a:ext cx="5169600" cy="136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                                                      Enter &amp; TAB to view next text style                                  SHIFT+TAB to view previous text style</a:t>
            </a:r>
            <a:endParaRPr lang="nb-NO"/>
          </a:p>
          <a:p>
            <a:pPr lvl="1"/>
            <a:endParaRPr lang="nb-NO" noProof="0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ECA3D2B-6759-F169-55B5-745BFC9105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0000" y="4089600"/>
            <a:ext cx="5169600" cy="277200"/>
          </a:xfrm>
        </p:spPr>
        <p:txBody>
          <a:bodyPr tIns="0" anchor="t" anchorCtr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lvl="0"/>
            <a:r>
              <a:rPr lang="nb-NO" dirty="0"/>
              <a:t>Click to add subtitle</a:t>
            </a:r>
            <a:endParaRPr lang="nb-NO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B9813ED-2D97-404C-BF27-32E36FE286BD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50000" y="363600"/>
            <a:ext cx="10184400" cy="2592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b="0">
                <a:solidFill>
                  <a:schemeClr val="tx2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nb-NO" dirty="0"/>
              <a:t>Click to add chapter</a:t>
            </a:r>
            <a:endParaRPr lang="nb-NO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E6DC9F9-CEFA-4E56-9BE8-6968B0C9233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0000" y="6188400"/>
            <a:ext cx="7664400" cy="316800"/>
          </a:xfrm>
        </p:spPr>
        <p:txBody>
          <a:bodyPr anchor="b" anchorCtr="0"/>
          <a:lstStyle>
            <a:lvl1pPr marL="0" indent="0">
              <a:buNone/>
              <a:defRPr lang="en-US" sz="7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nb-NO" dirty="0"/>
              <a:t>Click to edit source</a:t>
            </a:r>
            <a:endParaRPr lang="nb-NO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809200" y="6188400"/>
            <a:ext cx="2055600" cy="309600"/>
          </a:xfrm>
        </p:spPr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65600" y="6188400"/>
            <a:ext cx="277200" cy="309600"/>
          </a:xfrm>
        </p:spPr>
        <p:txBody>
          <a:bodyPr/>
          <a:lstStyle/>
          <a:p>
            <a:fld id="{23AA811B-2EBD-4900-905E-5BE20644961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51822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540" userDrawn="1">
          <p15:clr>
            <a:srgbClr val="A4A3A4"/>
          </p15:clr>
        </p15:guide>
        <p15:guide id="6" pos="3825" userDrawn="1">
          <p15:clr>
            <a:srgbClr val="A4A3A4"/>
          </p15:clr>
        </p15:guide>
        <p15:guide id="7" orient="horz" pos="2576" userDrawn="1">
          <p15:clr>
            <a:srgbClr val="A4A3A4"/>
          </p15:clr>
        </p15:guide>
        <p15:guide id="8" orient="horz" pos="2818" userDrawn="1">
          <p15:clr>
            <a:srgbClr val="A4A3A4"/>
          </p15:clr>
        </p15:guide>
        <p15:guide id="9" orient="horz" pos="2336" userDrawn="1">
          <p15:clr>
            <a:srgbClr val="A4A3A4"/>
          </p15:clr>
        </p15:guide>
        <p15:guide id="10" orient="horz" pos="1476" userDrawn="1">
          <p15:clr>
            <a:srgbClr val="A4A3A4"/>
          </p15:clr>
        </p15:guide>
        <p15:guide id="11" orient="horz" pos="1229" userDrawn="1">
          <p15:clr>
            <a:srgbClr val="A4A3A4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0F90D0-DE3E-4713-B566-C06C7B4F28DA}" type="datetime3">
              <a:rPr lang="nb-NO" smtClean="0"/>
              <a:t>2024.02.14</a:t>
            </a:fld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0000" y="622800"/>
            <a:ext cx="10184400" cy="982800"/>
          </a:xfrm>
        </p:spPr>
        <p:txBody>
          <a:bodyPr/>
          <a:lstStyle/>
          <a:p>
            <a:r>
              <a:rPr lang="nb-NO" noProof="0" dirty="0"/>
              <a:t>Click to add title. </a:t>
            </a:r>
            <a:br>
              <a:rPr lang="en-GB" noProof="0" dirty="0"/>
            </a:br>
            <a:r>
              <a:rPr lang="nb-NO" noProof="0" dirty="0"/>
              <a:t>Maximum two lines.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73200" y="1951038"/>
            <a:ext cx="5169600" cy="3888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                                                      Enter &amp; TAB to view next text style                                  SHIFT+TAB to view previous text style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8917302-AC3D-2F78-877E-4EBCB5B71D23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50000" y="1951038"/>
            <a:ext cx="5169600" cy="17532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                                                      Enter &amp; TAB to view next text style                                  SHIFT+TAB to view previous text style</a:t>
            </a:r>
            <a:endParaRPr lang="nb-NO"/>
          </a:p>
          <a:p>
            <a:pPr lvl="1"/>
            <a:endParaRPr lang="nb-NO" noProof="0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A3824544-F3BF-4D53-5D97-B7FFF25D79FA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50000" y="4086000"/>
            <a:ext cx="5169600" cy="17532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                                                      Enter &amp; TAB to view next text style                                  SHIFT+TAB to view previous text style</a:t>
            </a:r>
            <a:endParaRPr lang="nb-NO"/>
          </a:p>
          <a:p>
            <a:pPr lvl="1"/>
            <a:endParaRPr lang="nb-NO" noProof="0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B9813ED-2D97-404C-BF27-32E36FE286BD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50000" y="363600"/>
            <a:ext cx="10184400" cy="2592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b="0">
                <a:solidFill>
                  <a:schemeClr val="tx2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nb-NO" dirty="0"/>
              <a:t>Click to add chapter</a:t>
            </a:r>
            <a:endParaRPr lang="nb-NO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E6DC9F9-CEFA-4E56-9BE8-6968B0C9233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0000" y="6188400"/>
            <a:ext cx="7664400" cy="316800"/>
          </a:xfrm>
        </p:spPr>
        <p:txBody>
          <a:bodyPr anchor="b" anchorCtr="0"/>
          <a:lstStyle>
            <a:lvl1pPr marL="0" indent="0">
              <a:buNone/>
              <a:defRPr lang="en-US" sz="7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nb-NO" dirty="0"/>
              <a:t>Click to edit source</a:t>
            </a:r>
            <a:endParaRPr lang="nb-NO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809200" y="6188400"/>
            <a:ext cx="2055600" cy="309600"/>
          </a:xfrm>
        </p:spPr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65600" y="6188400"/>
            <a:ext cx="277200" cy="309600"/>
          </a:xfrm>
        </p:spPr>
        <p:txBody>
          <a:bodyPr/>
          <a:lstStyle/>
          <a:p>
            <a:fld id="{23AA811B-2EBD-4900-905E-5BE20644961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839294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540" userDrawn="1">
          <p15:clr>
            <a:srgbClr val="A4A3A4"/>
          </p15:clr>
        </p15:guide>
        <p15:guide id="6" pos="3825" userDrawn="1">
          <p15:clr>
            <a:srgbClr val="A4A3A4"/>
          </p15:clr>
        </p15:guide>
        <p15:guide id="7" orient="horz" pos="2573" userDrawn="1">
          <p15:clr>
            <a:srgbClr val="A4A3A4"/>
          </p15:clr>
        </p15:guide>
        <p15:guide id="8" orient="horz" pos="2332" userDrawn="1">
          <p15:clr>
            <a:srgbClr val="A4A3A4"/>
          </p15:clr>
        </p15:guide>
        <p15:guide id="9" orient="horz" pos="1229" userDrawn="1">
          <p15:clr>
            <a:srgbClr val="A4A3A4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0F90D0-DE3E-4713-B566-C06C7B4F28DA}" type="datetime3">
              <a:rPr lang="nb-NO" smtClean="0"/>
              <a:t>2024.02.14</a:t>
            </a:fld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0000" y="622800"/>
            <a:ext cx="10184400" cy="982800"/>
          </a:xfrm>
        </p:spPr>
        <p:txBody>
          <a:bodyPr/>
          <a:lstStyle/>
          <a:p>
            <a:r>
              <a:rPr lang="nb-NO" noProof="0" dirty="0"/>
              <a:t>Click to add title. </a:t>
            </a:r>
            <a:br>
              <a:rPr lang="en-GB" noProof="0" dirty="0"/>
            </a:br>
            <a:r>
              <a:rPr lang="nb-NO" noProof="0" dirty="0"/>
              <a:t>Maximum two lines.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0000" y="2343150"/>
            <a:ext cx="5169600" cy="136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                                                      Enter &amp; TAB to view next text style                                  SHIFT+TAB to view previous text style</a:t>
            </a:r>
            <a:endParaRPr lang="nb-NO"/>
          </a:p>
          <a:p>
            <a:pPr lvl="1"/>
            <a:endParaRPr lang="nb-NO" noProof="0" dirty="0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4DBFD812-BD5E-7699-0F21-1CA9C59C0AC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0000" y="1954342"/>
            <a:ext cx="5169600" cy="277200"/>
          </a:xfrm>
        </p:spPr>
        <p:txBody>
          <a:bodyPr tIns="0" anchor="t" anchorCtr="0"/>
          <a:lstStyle>
            <a:lvl1pPr marL="0" indent="0">
              <a:lnSpc>
                <a:spcPct val="90000"/>
              </a:lnSpc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noProof="0" dirty="0"/>
              <a:t>Click to add subtitle</a:t>
            </a:r>
            <a:endParaRPr lang="nb-NO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8917302-AC3D-2F78-877E-4EBCB5B71D23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073200" y="2343150"/>
            <a:ext cx="5169600" cy="136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                                                      Enter &amp; TAB to view next text style                                  SHIFT+TAB to view previous text style</a:t>
            </a:r>
            <a:endParaRPr lang="nb-NO"/>
          </a:p>
          <a:p>
            <a:pPr lvl="1"/>
            <a:endParaRPr lang="nb-NO" noProof="0" dirty="0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4DD551F3-1DF7-66AB-684E-DFD23206DE6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73200" y="1954342"/>
            <a:ext cx="5169600" cy="277200"/>
          </a:xfrm>
        </p:spPr>
        <p:txBody>
          <a:bodyPr tIns="0" anchor="t" anchorCtr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lvl="0"/>
            <a:r>
              <a:rPr lang="nb-NO" dirty="0"/>
              <a:t>Click to add subtitle</a:t>
            </a:r>
            <a:endParaRPr lang="nb-NO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A3824544-F3BF-4D53-5D97-B7FFF25D79FA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50000" y="4474800"/>
            <a:ext cx="5169600" cy="136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                                                      Enter &amp; TAB to view next text style                                  SHIFT+TAB to view previous text style</a:t>
            </a:r>
            <a:endParaRPr lang="nb-NO"/>
          </a:p>
          <a:p>
            <a:pPr lvl="1"/>
            <a:endParaRPr lang="nb-NO" noProof="0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ECA3D2B-6759-F169-55B5-745BFC9105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0000" y="4089600"/>
            <a:ext cx="5169600" cy="277200"/>
          </a:xfrm>
        </p:spPr>
        <p:txBody>
          <a:bodyPr tIns="0" anchor="t" anchorCtr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lvl="0"/>
            <a:r>
              <a:rPr lang="nb-NO" dirty="0"/>
              <a:t>Click to add subtitle</a:t>
            </a:r>
            <a:endParaRPr lang="nb-NO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19BCC7F-214C-A8B6-3CA0-921A3820F919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073200" y="4474800"/>
            <a:ext cx="5169600" cy="136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                                                      Enter &amp; TAB to view next text style                                  SHIFT+TAB to view previous text style</a:t>
            </a:r>
            <a:endParaRPr lang="nb-NO"/>
          </a:p>
          <a:p>
            <a:pPr lvl="1"/>
            <a:endParaRPr lang="nb-NO" noProof="0" dirty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A472C2C9-5631-CB15-CD23-7741259D4BE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73200" y="4089600"/>
            <a:ext cx="5169600" cy="277200"/>
          </a:xfrm>
        </p:spPr>
        <p:txBody>
          <a:bodyPr tIns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lvl="0"/>
            <a:r>
              <a:rPr lang="nb-NO" dirty="0"/>
              <a:t>Click to add subtitle</a:t>
            </a:r>
            <a:endParaRPr lang="nb-NO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B9813ED-2D97-404C-BF27-32E36FE286BD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50000" y="363600"/>
            <a:ext cx="10184400" cy="2592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b="0">
                <a:solidFill>
                  <a:schemeClr val="tx2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nb-NO" dirty="0"/>
              <a:t>Click to add chapter</a:t>
            </a:r>
            <a:endParaRPr lang="nb-NO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E6DC9F9-CEFA-4E56-9BE8-6968B0C9233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0000" y="6188400"/>
            <a:ext cx="7664400" cy="316800"/>
          </a:xfrm>
        </p:spPr>
        <p:txBody>
          <a:bodyPr anchor="b" anchorCtr="0"/>
          <a:lstStyle>
            <a:lvl1pPr marL="0" indent="0">
              <a:buNone/>
              <a:defRPr lang="en-US" sz="7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nb-NO" dirty="0"/>
              <a:t>Click to edit source</a:t>
            </a:r>
            <a:endParaRPr lang="nb-NO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809200" y="6188400"/>
            <a:ext cx="2055600" cy="309600"/>
          </a:xfrm>
        </p:spPr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65600" y="6188400"/>
            <a:ext cx="277200" cy="309600"/>
          </a:xfrm>
        </p:spPr>
        <p:txBody>
          <a:bodyPr/>
          <a:lstStyle/>
          <a:p>
            <a:fld id="{23AA811B-2EBD-4900-905E-5BE20644961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96304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540">
          <p15:clr>
            <a:srgbClr val="A4A3A4"/>
          </p15:clr>
        </p15:guide>
        <p15:guide id="6" pos="3825">
          <p15:clr>
            <a:srgbClr val="A4A3A4"/>
          </p15:clr>
        </p15:guide>
        <p15:guide id="7" orient="horz" pos="2576">
          <p15:clr>
            <a:srgbClr val="A4A3A4"/>
          </p15:clr>
        </p15:guide>
        <p15:guide id="8" orient="horz" pos="2818">
          <p15:clr>
            <a:srgbClr val="A4A3A4"/>
          </p15:clr>
        </p15:guide>
        <p15:guide id="9" orient="horz" pos="2336">
          <p15:clr>
            <a:srgbClr val="A4A3A4"/>
          </p15:clr>
        </p15:guide>
        <p15:guide id="10" orient="horz" pos="1476">
          <p15:clr>
            <a:srgbClr val="A4A3A4"/>
          </p15:clr>
        </p15:guide>
        <p15:guide id="11" orient="horz" pos="1229" userDrawn="1">
          <p15:clr>
            <a:srgbClr val="A4A3A4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0F90D0-DE3E-4713-B566-C06C7B4F28DA}" type="datetime3">
              <a:rPr lang="nb-NO" smtClean="0"/>
              <a:t>2024.02.14</a:t>
            </a:fld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0000" y="622800"/>
            <a:ext cx="10184400" cy="982800"/>
          </a:xfrm>
        </p:spPr>
        <p:txBody>
          <a:bodyPr/>
          <a:lstStyle/>
          <a:p>
            <a:r>
              <a:rPr lang="nb-NO" noProof="0" dirty="0"/>
              <a:t>Click to add title. </a:t>
            </a:r>
            <a:br>
              <a:rPr lang="en-GB" noProof="0" dirty="0"/>
            </a:br>
            <a:r>
              <a:rPr lang="nb-NO" noProof="0" dirty="0"/>
              <a:t>Maximum two lines.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0000" y="1954800"/>
            <a:ext cx="5169600" cy="174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                                                      Enter &amp; TAB to view next text style                                  SHIFT+TAB to view previous text style</a:t>
            </a:r>
            <a:endParaRPr lang="nb-NO"/>
          </a:p>
          <a:p>
            <a:pPr lvl="1"/>
            <a:endParaRPr lang="nb-NO" noProof="0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8917302-AC3D-2F78-877E-4EBCB5B71D23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073200" y="1954800"/>
            <a:ext cx="5169600" cy="174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                                                      Enter &amp; TAB to view next text style                                  SHIFT+TAB to view previous text style</a:t>
            </a:r>
            <a:endParaRPr lang="nb-NO"/>
          </a:p>
          <a:p>
            <a:pPr lvl="1"/>
            <a:endParaRPr lang="nb-NO" noProof="0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A3824544-F3BF-4D53-5D97-B7FFF25D79FA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50000" y="4086000"/>
            <a:ext cx="5169600" cy="174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                                                      Enter &amp; TAB to view next text style                                  SHIFT+TAB to view previous text style</a:t>
            </a:r>
            <a:endParaRPr lang="nb-NO"/>
          </a:p>
          <a:p>
            <a:pPr lvl="1"/>
            <a:endParaRPr lang="nb-NO" noProof="0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19BCC7F-214C-A8B6-3CA0-921A3820F919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073200" y="4086000"/>
            <a:ext cx="5169600" cy="174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                                                      Enter &amp; TAB to view next text style                                  SHIFT+TAB to view previous text style</a:t>
            </a:r>
            <a:endParaRPr lang="nb-NO"/>
          </a:p>
          <a:p>
            <a:pPr lvl="1"/>
            <a:endParaRPr lang="nb-NO" noProof="0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B9813ED-2D97-404C-BF27-32E36FE286BD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50000" y="363600"/>
            <a:ext cx="10184400" cy="2592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b="0">
                <a:solidFill>
                  <a:schemeClr val="tx2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nb-NO" dirty="0"/>
              <a:t>Click to add chapter</a:t>
            </a:r>
            <a:endParaRPr lang="nb-NO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E6DC9F9-CEFA-4E56-9BE8-6968B0C9233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0000" y="6188400"/>
            <a:ext cx="7664400" cy="316800"/>
          </a:xfrm>
        </p:spPr>
        <p:txBody>
          <a:bodyPr anchor="b" anchorCtr="0"/>
          <a:lstStyle>
            <a:lvl1pPr marL="0" indent="0">
              <a:buNone/>
              <a:defRPr lang="en-US" sz="7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nb-NO" dirty="0"/>
              <a:t>Click to edit source</a:t>
            </a:r>
            <a:endParaRPr lang="nb-NO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809200" y="6188400"/>
            <a:ext cx="2055600" cy="309600"/>
          </a:xfrm>
        </p:spPr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65600" y="6188400"/>
            <a:ext cx="277200" cy="309600"/>
          </a:xfrm>
        </p:spPr>
        <p:txBody>
          <a:bodyPr/>
          <a:lstStyle/>
          <a:p>
            <a:fld id="{23AA811B-2EBD-4900-905E-5BE20644961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782580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540">
          <p15:clr>
            <a:srgbClr val="A4A3A4"/>
          </p15:clr>
        </p15:guide>
        <p15:guide id="6" pos="3825">
          <p15:clr>
            <a:srgbClr val="A4A3A4"/>
          </p15:clr>
        </p15:guide>
        <p15:guide id="7" orient="horz" pos="2576">
          <p15:clr>
            <a:srgbClr val="A4A3A4"/>
          </p15:clr>
        </p15:guide>
        <p15:guide id="9" orient="horz" pos="2336">
          <p15:clr>
            <a:srgbClr val="A4A3A4"/>
          </p15:clr>
        </p15:guide>
        <p15:guide id="10" orient="horz" pos="1229" userDrawn="1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 Pictur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8" hidden="1">
            <a:extLst>
              <a:ext uri="{FF2B5EF4-FFF2-40B4-BE49-F238E27FC236}">
                <a16:creationId xmlns:a16="http://schemas.microsoft.com/office/drawing/2014/main" id="{44FBEF0F-BDBE-6728-FFBE-939351EAB84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Gjensidige Forsikring Group</a:t>
            </a:r>
          </a:p>
        </p:txBody>
      </p:sp>
      <p:sp>
        <p:nvSpPr>
          <p:cNvPr id="6" name="Slide Number Placeholder 10" hidden="1">
            <a:extLst>
              <a:ext uri="{FF2B5EF4-FFF2-40B4-BE49-F238E27FC236}">
                <a16:creationId xmlns:a16="http://schemas.microsoft.com/office/drawing/2014/main" id="{54F0CBE2-FA94-34C5-37F8-0C65E0DE91B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1786C404-B396-7655-ECB6-1ABFA5CA120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794"/>
            <a:ext cx="12192000" cy="6858794"/>
          </a:xfrm>
          <a:solidFill>
            <a:schemeClr val="bg1">
              <a:lumMod val="85000"/>
            </a:schemeClr>
          </a:solidFill>
        </p:spPr>
        <p:txBody>
          <a:bodyPr lIns="36000" tIns="36000" rIns="36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rgbClr val="090C33"/>
                </a:solidFill>
              </a:defRPr>
            </a:lvl1pPr>
          </a:lstStyle>
          <a:p>
            <a:r>
              <a:rPr lang="nb-NO"/>
              <a:t>To insert picture from Templafy click on slide frame and select from Templafy Images.</a:t>
            </a:r>
          </a:p>
          <a:p>
            <a:r>
              <a:rPr lang="nb-NO"/>
              <a:t>To insert picture from local computer, insert text in the title field first to access the picture icon.</a:t>
            </a:r>
          </a:p>
        </p:txBody>
      </p:sp>
      <p:sp>
        <p:nvSpPr>
          <p:cNvPr id="13" name="Plassholder for tekst logo">
            <a:extLst>
              <a:ext uri="{FF2B5EF4-FFF2-40B4-BE49-F238E27FC236}">
                <a16:creationId xmlns:a16="http://schemas.microsoft.com/office/drawing/2014/main" id="{946015B0-6D41-F251-4E0C-47AC8444C69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886445" y="251489"/>
            <a:ext cx="2051840" cy="508188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90C33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 dirty="0"/>
              <a:t> </a:t>
            </a:r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53437" y="1692767"/>
            <a:ext cx="11706622" cy="3922966"/>
          </a:xfrm>
        </p:spPr>
        <p:txBody>
          <a:bodyPr anchor="b"/>
          <a:lstStyle>
            <a:lvl1pPr indent="1008202" algn="l">
              <a:lnSpc>
                <a:spcPct val="90000"/>
              </a:lnSpc>
              <a:defRPr sz="9002">
                <a:solidFill>
                  <a:schemeClr val="lt1"/>
                </a:solidFill>
              </a:defRPr>
            </a:lvl1pPr>
          </a:lstStyle>
          <a:p>
            <a:r>
              <a:rPr lang="nb-NO" dirty="0"/>
              <a:t>Click to add short title</a:t>
            </a:r>
            <a:endParaRPr lang="nb-NO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3437" y="6306280"/>
            <a:ext cx="9144000" cy="36199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rgbClr val="FFFFFF"/>
                </a:solidFill>
                <a:latin typeface="Gjensidige Type" pitchFamily="50" charset="0"/>
                <a:ea typeface="Arial" pitchFamily="34" charset="0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dirty="0"/>
              <a:t>Click to edit Master subtitle style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AED36E2-8932-3E43-D40B-840515BB95D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651667" y="6447255"/>
            <a:ext cx="2308391" cy="221018"/>
          </a:xfrm>
        </p:spPr>
        <p:txBody>
          <a:bodyPr bIns="36000"/>
          <a:lstStyle>
            <a:lvl1pPr algn="r">
              <a:defRPr sz="1200">
                <a:solidFill>
                  <a:schemeClr val="bg1"/>
                </a:solidFill>
                <a:latin typeface="Gjensidige Type" pitchFamily="50" charset="0"/>
                <a:ea typeface="Arial" pitchFamily="34" charset="0"/>
              </a:defRPr>
            </a:lvl1pPr>
          </a:lstStyle>
          <a:p>
            <a:r>
              <a:rPr lang="nb-NO"/>
              <a:t>Date, Month Year</a:t>
            </a:r>
          </a:p>
        </p:txBody>
      </p:sp>
    </p:spTree>
    <p:extLst>
      <p:ext uri="{BB962C8B-B14F-4D97-AF65-F5344CB8AC3E}">
        <p14:creationId xmlns:p14="http://schemas.microsoft.com/office/powerpoint/2010/main" val="115864785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066" userDrawn="1">
          <p15:clr>
            <a:srgbClr val="A4A3A4"/>
          </p15:clr>
        </p15:guide>
        <p15:guide id="2" orient="horz" pos="3537" userDrawn="1">
          <p15:clr>
            <a:srgbClr val="A4A3A4"/>
          </p15:clr>
        </p15:guide>
        <p15:guide id="3" pos="159" userDrawn="1">
          <p15:clr>
            <a:srgbClr val="A4A3A4"/>
          </p15:clr>
        </p15:guide>
        <p15:guide id="4" pos="7533" userDrawn="1">
          <p15:clr>
            <a:srgbClr val="A4A3A4"/>
          </p15:clr>
        </p15:guide>
        <p15:guide id="5" orient="horz" pos="4201" userDrawn="1">
          <p15:clr>
            <a:srgbClr val="A4A3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E969E1C8-2181-347E-0148-15171E89B18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422FD456-FCAF-42A7-83AC-576433D435DC}" type="datetime3">
              <a:rPr lang="nb-NO" smtClean="0"/>
              <a:t>2024.02.14</a:t>
            </a:fld>
            <a:endParaRPr lang="nb-NO"/>
          </a:p>
        </p:txBody>
      </p:sp>
      <p:sp>
        <p:nvSpPr>
          <p:cNvPr id="12" name="Background">
            <a:extLst>
              <a:ext uri="{FF2B5EF4-FFF2-40B4-BE49-F238E27FC236}">
                <a16:creationId xmlns:a16="http://schemas.microsoft.com/office/drawing/2014/main" id="{9C106AFB-2B9D-4788-9A93-7BB726CB3D6C}"/>
              </a:ext>
            </a:extLst>
          </p:cNvPr>
          <p:cNvSpPr/>
          <p:nvPr userDrawn="1"/>
        </p:nvSpPr>
        <p:spPr>
          <a:xfrm>
            <a:off x="1" y="0"/>
            <a:ext cx="121920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000" noProof="0" err="1"/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210FF201-3A79-42F5-8DA1-12220F451D2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66000" y="360000"/>
            <a:ext cx="5677200" cy="6138000"/>
          </a:xfrm>
          <a:solidFill>
            <a:schemeClr val="bg1">
              <a:lumMod val="85000"/>
            </a:schemeClr>
          </a:solidFill>
        </p:spPr>
        <p:txBody>
          <a:bodyPr lIns="36000" tIns="36000" rIns="36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nb-NO"/>
              <a:t>Click on frame and insert picture via Templafy Images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D4E1684-A2E4-CAEA-9C67-031E6508D2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000" y="622800"/>
            <a:ext cx="5162400" cy="982800"/>
          </a:xfrm>
        </p:spPr>
        <p:txBody>
          <a:bodyPr/>
          <a:lstStyle/>
          <a:p>
            <a:r>
              <a:rPr lang="nb-NO" noProof="0" dirty="0"/>
              <a:t>Click to add title. </a:t>
            </a:r>
            <a:br>
              <a:rPr lang="en-GB" noProof="0" dirty="0"/>
            </a:br>
            <a:r>
              <a:rPr lang="nb-NO" noProof="0" dirty="0"/>
              <a:t>Maximum two lines.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0000" y="1951200"/>
            <a:ext cx="5162400" cy="388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                                                      Enter &amp; TAB to view next text style                                  SHIFT+TAB to view previous text style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A3B5D920-EBBB-DF1E-9A3B-AF64462CD588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50000" y="363600"/>
            <a:ext cx="5162400" cy="2592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b="0">
                <a:solidFill>
                  <a:schemeClr val="tx2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nb-NO" dirty="0"/>
              <a:t>Click to add chapter</a:t>
            </a:r>
            <a:endParaRPr lang="nb-NO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D40D2845-40CB-249A-8A12-2DF08918788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0000" y="6188400"/>
            <a:ext cx="2566800" cy="316800"/>
          </a:xfrm>
        </p:spPr>
        <p:txBody>
          <a:bodyPr anchor="b" anchorCtr="0"/>
          <a:lstStyle>
            <a:lvl1pPr marL="0" indent="0">
              <a:buNone/>
              <a:defRPr lang="en-US" sz="7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nb-NO" dirty="0"/>
              <a:t>Click to edit source</a:t>
            </a:r>
            <a:endParaRPr lang="nb-NO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A48FBC90-195E-57A0-0462-F0D73423890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3178213" y="6188400"/>
            <a:ext cx="2055600" cy="309600"/>
          </a:xfrm>
        </p:spPr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78C026FD-2C52-4190-71F8-8EF3202C65D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5334613" y="6188400"/>
            <a:ext cx="277200" cy="309600"/>
          </a:xfrm>
        </p:spPr>
        <p:txBody>
          <a:bodyPr/>
          <a:lstStyle/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9095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35" userDrawn="1">
          <p15:clr>
            <a:srgbClr val="A4A3A4"/>
          </p15:clr>
        </p15:guide>
        <p15:guide id="2" pos="3821" userDrawn="1">
          <p15:clr>
            <a:srgbClr val="A4A3A4"/>
          </p15:clr>
        </p15:guide>
        <p15:guide id="3" orient="horz" pos="1229" userDrawn="1">
          <p15:clr>
            <a:srgbClr val="A4A3A4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, Content and Pictur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Date Placeholder 14" hidden="1">
            <a:extLst>
              <a:ext uri="{FF2B5EF4-FFF2-40B4-BE49-F238E27FC236}">
                <a16:creationId xmlns:a16="http://schemas.microsoft.com/office/drawing/2014/main" id="{30CD192C-1F49-22F1-AFED-B74B1C10E19F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422FD456-FCAF-42A7-83AC-576433D435DC}" type="datetime3">
              <a:rPr lang="nb-NO" smtClean="0"/>
              <a:t>2024.02.14</a:t>
            </a:fld>
            <a:endParaRPr lang="nb-NO"/>
          </a:p>
        </p:txBody>
      </p:sp>
      <p:sp>
        <p:nvSpPr>
          <p:cNvPr id="11" name="Background">
            <a:extLst>
              <a:ext uri="{FF2B5EF4-FFF2-40B4-BE49-F238E27FC236}">
                <a16:creationId xmlns:a16="http://schemas.microsoft.com/office/drawing/2014/main" id="{E9A2868D-5CF2-4BC3-9A0E-75C4CFC08AAB}"/>
              </a:ext>
            </a:extLst>
          </p:cNvPr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000" noProof="0" err="1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18AE4DBD-E2B7-3F23-A2B4-C976EBD3B9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000" y="622800"/>
            <a:ext cx="5162400" cy="982800"/>
          </a:xfrm>
        </p:spPr>
        <p:txBody>
          <a:bodyPr/>
          <a:lstStyle/>
          <a:p>
            <a:r>
              <a:rPr lang="nb-NO" noProof="0" dirty="0"/>
              <a:t>Click to add title. </a:t>
            </a:r>
            <a:br>
              <a:rPr lang="en-GB" noProof="0" dirty="0"/>
            </a:br>
            <a:r>
              <a:rPr lang="nb-NO" noProof="0" dirty="0"/>
              <a:t>Maximum two lines.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0000" y="2343600"/>
            <a:ext cx="5162400" cy="349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                                                      Enter &amp; TAB to view next text style                                  SHIFT+TAB to view previous text style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88A807E-4AA1-4FEA-AB62-F9D6365F357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0000" y="1951200"/>
            <a:ext cx="5162400" cy="277200"/>
          </a:xfrm>
        </p:spPr>
        <p:txBody>
          <a:bodyPr tIns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noProof="0" dirty="0"/>
              <a:t>Click to add subtitle</a:t>
            </a:r>
            <a:endParaRPr lang="nb-NO" dirty="0"/>
          </a:p>
        </p:txBody>
      </p:sp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7422ADD6-AE42-CB1E-A050-D14388B200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66000" y="360000"/>
            <a:ext cx="5677200" cy="6138000"/>
          </a:xfrm>
          <a:solidFill>
            <a:schemeClr val="bg1">
              <a:lumMod val="85000"/>
            </a:schemeClr>
          </a:solidFill>
        </p:spPr>
        <p:txBody>
          <a:bodyPr lIns="36000" tIns="36000" rIns="36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nb-NO"/>
              <a:t>Click on frame and insert picture via Templafy Images.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4A4D7B90-67BD-6920-8899-9442A62A92C4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50000" y="363600"/>
            <a:ext cx="5162400" cy="2592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b="0">
                <a:solidFill>
                  <a:schemeClr val="tx2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nb-NO" dirty="0"/>
              <a:t>Click to add chapter</a:t>
            </a:r>
            <a:endParaRPr lang="nb-NO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C3335985-F2B0-34FE-DE67-9F4BC0E20A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0000" y="6188400"/>
            <a:ext cx="2566800" cy="316800"/>
          </a:xfrm>
        </p:spPr>
        <p:txBody>
          <a:bodyPr anchor="b" anchorCtr="0"/>
          <a:lstStyle>
            <a:lvl1pPr marL="0" indent="0">
              <a:buNone/>
              <a:defRPr lang="en-US" sz="7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nb-NO" dirty="0"/>
              <a:t>Click to edit source</a:t>
            </a:r>
            <a:endParaRPr lang="nb-NO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BD9CF7D6-A799-EAA2-48E4-0816DEC7619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3178800" y="6188400"/>
            <a:ext cx="2055600" cy="309600"/>
          </a:xfrm>
        </p:spPr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A6CE054A-7F02-5CBD-D46F-384773F3476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5335200" y="6188400"/>
            <a:ext cx="277200" cy="309600"/>
          </a:xfrm>
        </p:spPr>
        <p:txBody>
          <a:bodyPr/>
          <a:lstStyle/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572493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35" userDrawn="1">
          <p15:clr>
            <a:srgbClr val="A4A3A4"/>
          </p15:clr>
        </p15:guide>
        <p15:guide id="2" pos="3821" userDrawn="1">
          <p15:clr>
            <a:srgbClr val="A4A3A4"/>
          </p15:clr>
        </p15:guide>
        <p15:guide id="3" orient="horz" pos="1229" userDrawn="1">
          <p15:clr>
            <a:srgbClr val="A4A3A4"/>
          </p15:clr>
        </p15:guide>
        <p15:guide id="4" orient="horz" pos="1476" userDrawn="1">
          <p15:clr>
            <a:srgbClr val="A4A3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210FF201-3A79-42F5-8DA1-12220F451D2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0000" y="360000"/>
            <a:ext cx="5162400" cy="6138000"/>
          </a:xfrm>
          <a:solidFill>
            <a:schemeClr val="bg1">
              <a:lumMod val="85000"/>
            </a:schemeClr>
          </a:solidFill>
        </p:spPr>
        <p:txBody>
          <a:bodyPr lIns="36000" tIns="36000" rIns="36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nb-NO"/>
              <a:t>Click on frame and insert picture via Templafy Images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D4E1684-A2E4-CAEA-9C67-031E6508D2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80400" y="622800"/>
            <a:ext cx="4568400" cy="982800"/>
          </a:xfrm>
        </p:spPr>
        <p:txBody>
          <a:bodyPr/>
          <a:lstStyle/>
          <a:p>
            <a:r>
              <a:rPr lang="nb-NO" noProof="0" dirty="0"/>
              <a:t>Click to add title. </a:t>
            </a:r>
            <a:br>
              <a:rPr lang="en-GB" noProof="0" dirty="0"/>
            </a:br>
            <a:r>
              <a:rPr lang="nb-NO" noProof="0" dirty="0"/>
              <a:t>Maximum two lines.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80400" y="1951200"/>
            <a:ext cx="5162400" cy="388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                                                      Enter &amp; TAB to view next text style                                  SHIFT+TAB to view previous text style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A3B5D920-EBBB-DF1E-9A3B-AF64462CD588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6080400" y="363600"/>
            <a:ext cx="4568400" cy="2592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b="0">
                <a:solidFill>
                  <a:schemeClr val="tx2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nb-NO" dirty="0"/>
              <a:t>Click to add chapter</a:t>
            </a:r>
            <a:endParaRPr lang="nb-NO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D40D2845-40CB-249A-8A12-2DF08918788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80400" y="6188400"/>
            <a:ext cx="2566800" cy="316800"/>
          </a:xfrm>
        </p:spPr>
        <p:txBody>
          <a:bodyPr anchor="b" anchorCtr="0"/>
          <a:lstStyle>
            <a:lvl1pPr marL="0" indent="0">
              <a:buNone/>
              <a:defRPr lang="en-US" sz="7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nb-NO" dirty="0"/>
              <a:t>Click to edit source</a:t>
            </a:r>
            <a:endParaRPr lang="nb-NO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F4DAB64-F95F-F0A1-CC0B-F7E7B22DC84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422FD456-FCAF-42A7-83AC-576433D435DC}" type="datetime3">
              <a:rPr lang="nb-NO" smtClean="0"/>
              <a:t>2024.02.14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CF88B1-69D5-DA88-EF3B-42A48008B3B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5DC5F66-032A-CD9E-3468-15625EB4FE5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0965600" y="6188400"/>
            <a:ext cx="277200" cy="309600"/>
          </a:xfrm>
        </p:spPr>
        <p:txBody>
          <a:bodyPr/>
          <a:lstStyle/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645361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35" userDrawn="1">
          <p15:clr>
            <a:srgbClr val="A4A3A4"/>
          </p15:clr>
        </p15:guide>
        <p15:guide id="2" pos="3830" userDrawn="1">
          <p15:clr>
            <a:srgbClr val="A4A3A4"/>
          </p15:clr>
        </p15:guide>
        <p15:guide id="3" orient="horz" pos="1229" userDrawn="1">
          <p15:clr>
            <a:srgbClr val="A4A3A4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, Content and Pictur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7A5F7D09-CC08-03BC-75B4-B942599AF478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422FD456-FCAF-42A7-83AC-576433D435DC}" type="datetime3">
              <a:rPr lang="nb-NO" smtClean="0"/>
              <a:t>2024.02.14</a:t>
            </a:fld>
            <a:endParaRPr lang="nb-NO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18AE4DBD-E2B7-3F23-A2B4-C976EBD3B9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80400" y="622800"/>
            <a:ext cx="4552675" cy="982800"/>
          </a:xfrm>
        </p:spPr>
        <p:txBody>
          <a:bodyPr/>
          <a:lstStyle/>
          <a:p>
            <a:r>
              <a:rPr lang="nb-NO" noProof="0" dirty="0"/>
              <a:t>Click to add title. </a:t>
            </a:r>
            <a:br>
              <a:rPr lang="en-GB" noProof="0" dirty="0"/>
            </a:br>
            <a:r>
              <a:rPr lang="nb-NO" noProof="0" dirty="0"/>
              <a:t>Maximum two lines.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80400" y="2343600"/>
            <a:ext cx="5162400" cy="349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                                                      Enter &amp; TAB to view next text style                                  SHIFT+TAB to view previous text style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88A807E-4AA1-4FEA-AB62-F9D6365F357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80400" y="1951200"/>
            <a:ext cx="5162400" cy="277200"/>
          </a:xfrm>
        </p:spPr>
        <p:txBody>
          <a:bodyPr tIns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noProof="0" dirty="0"/>
              <a:t>Click to add subtitle</a:t>
            </a:r>
            <a:endParaRPr lang="nb-NO" dirty="0"/>
          </a:p>
        </p:txBody>
      </p:sp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7422ADD6-AE42-CB1E-A050-D14388B200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50000" y="360000"/>
            <a:ext cx="5162400" cy="6138000"/>
          </a:xfrm>
          <a:solidFill>
            <a:schemeClr val="bg1">
              <a:lumMod val="85000"/>
            </a:schemeClr>
          </a:solidFill>
        </p:spPr>
        <p:txBody>
          <a:bodyPr lIns="36000" tIns="36000" rIns="36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nb-NO"/>
              <a:t>Click on frame and insert picture via Templafy Images.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4A4D7B90-67BD-6920-8899-9442A62A92C4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6080400" y="363600"/>
            <a:ext cx="4554000" cy="2592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b="0">
                <a:solidFill>
                  <a:schemeClr val="tx2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nb-NO" dirty="0"/>
              <a:t>Click to add chapter</a:t>
            </a:r>
            <a:endParaRPr lang="nb-NO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C3335985-F2B0-34FE-DE67-9F4BC0E20A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80400" y="6188400"/>
            <a:ext cx="2566800" cy="316800"/>
          </a:xfrm>
        </p:spPr>
        <p:txBody>
          <a:bodyPr anchor="b" anchorCtr="0"/>
          <a:lstStyle>
            <a:lvl1pPr marL="0" indent="0">
              <a:buNone/>
              <a:defRPr lang="en-US" sz="7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nb-NO" dirty="0"/>
              <a:t>Click to edit source</a:t>
            </a:r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79CFF3-C532-0183-BD1C-46A93494252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AC5D3A9-61A7-53BE-8D7E-EF491AC5860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0965600" y="6188400"/>
            <a:ext cx="277200" cy="309600"/>
          </a:xfrm>
        </p:spPr>
        <p:txBody>
          <a:bodyPr/>
          <a:lstStyle/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828891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30" userDrawn="1">
          <p15:clr>
            <a:srgbClr val="A4A3A4"/>
          </p15:clr>
        </p15:guide>
        <p15:guide id="2" pos="3535" userDrawn="1">
          <p15:clr>
            <a:srgbClr val="A4A3A4"/>
          </p15:clr>
        </p15:guide>
        <p15:guide id="3" orient="horz" pos="1229" userDrawn="1">
          <p15:clr>
            <a:srgbClr val="A4A3A4"/>
          </p15:clr>
        </p15:guide>
        <p15:guide id="4" orient="horz" pos="1476" userDrawn="1">
          <p15:clr>
            <a:srgbClr val="A4A3A4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 Pictu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337C8326-834A-8866-A18D-5C0CD4F75D2C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422FD456-FCAF-42A7-83AC-576433D435DC}" type="datetime3">
              <a:rPr lang="nb-NO" smtClean="0"/>
              <a:t>2024.02.14</a:t>
            </a:fld>
            <a:endParaRPr lang="nb-NO"/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210FF201-3A79-42F5-8DA1-12220F451D2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66000" y="1119600"/>
            <a:ext cx="5677200" cy="4719600"/>
          </a:xfrm>
          <a:solidFill>
            <a:schemeClr val="bg1">
              <a:lumMod val="85000"/>
            </a:schemeClr>
          </a:solidFill>
        </p:spPr>
        <p:txBody>
          <a:bodyPr lIns="36000" tIns="36000" rIns="36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nb-NO"/>
              <a:t>Click on frame and insert picture via Templafy Images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D4E1684-A2E4-CAEA-9C67-031E6508D2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000" y="622800"/>
            <a:ext cx="5162400" cy="982800"/>
          </a:xfrm>
        </p:spPr>
        <p:txBody>
          <a:bodyPr/>
          <a:lstStyle/>
          <a:p>
            <a:r>
              <a:rPr lang="nb-NO" noProof="0" dirty="0"/>
              <a:t>Click to add title. </a:t>
            </a:r>
            <a:br>
              <a:rPr lang="en-GB" noProof="0" dirty="0"/>
            </a:br>
            <a:r>
              <a:rPr lang="nb-NO" noProof="0" dirty="0"/>
              <a:t>Maximum two lines.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0000" y="1951200"/>
            <a:ext cx="5162400" cy="388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                                                      Enter &amp; TAB to view next text style                                  SHIFT+TAB to view previous text style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A3B5D920-EBBB-DF1E-9A3B-AF64462CD588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50000" y="363600"/>
            <a:ext cx="5162400" cy="2592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b="0">
                <a:solidFill>
                  <a:schemeClr val="tx2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nb-NO" dirty="0"/>
              <a:t>Click to add chapter</a:t>
            </a:r>
            <a:endParaRPr lang="nb-NO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D40D2845-40CB-249A-8A12-2DF08918788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9999" y="6188400"/>
            <a:ext cx="7664400" cy="316800"/>
          </a:xfrm>
        </p:spPr>
        <p:txBody>
          <a:bodyPr anchor="b" anchorCtr="0"/>
          <a:lstStyle>
            <a:lvl1pPr marL="0" indent="0">
              <a:buNone/>
              <a:defRPr lang="en-US" sz="7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nb-NO" dirty="0"/>
              <a:t>Click to edit source</a:t>
            </a:r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2472E5C-8DFF-F501-E2EC-BE1C1B3D58F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CC454DC-C9C0-D18D-4762-C87D5B851B8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566464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35" userDrawn="1">
          <p15:clr>
            <a:srgbClr val="A4A3A4"/>
          </p15:clr>
        </p15:guide>
        <p15:guide id="2" pos="3821" userDrawn="1">
          <p15:clr>
            <a:srgbClr val="A4A3A4"/>
          </p15:clr>
        </p15:guide>
        <p15:guide id="3" orient="horz" pos="705" userDrawn="1">
          <p15:clr>
            <a:srgbClr val="A4A3A4"/>
          </p15:clr>
        </p15:guide>
        <p15:guide id="4" orient="horz" pos="1229" userDrawn="1">
          <p15:clr>
            <a:srgbClr val="A4A3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, Content and Picture C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Date Placeholder 14" hidden="1">
            <a:extLst>
              <a:ext uri="{FF2B5EF4-FFF2-40B4-BE49-F238E27FC236}">
                <a16:creationId xmlns:a16="http://schemas.microsoft.com/office/drawing/2014/main" id="{30CD192C-1F49-22F1-AFED-B74B1C10E19F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422FD456-FCAF-42A7-83AC-576433D435DC}" type="datetime3">
              <a:rPr lang="nb-NO" smtClean="0"/>
              <a:t>2024.02.14</a:t>
            </a:fld>
            <a:endParaRPr lang="nb-NO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18AE4DBD-E2B7-3F23-A2B4-C976EBD3B9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000" y="622800"/>
            <a:ext cx="5162400" cy="982800"/>
          </a:xfrm>
        </p:spPr>
        <p:txBody>
          <a:bodyPr/>
          <a:lstStyle/>
          <a:p>
            <a:r>
              <a:rPr lang="nb-NO" noProof="0" dirty="0"/>
              <a:t>Click to add title. </a:t>
            </a:r>
            <a:br>
              <a:rPr lang="en-GB" noProof="0" dirty="0"/>
            </a:br>
            <a:r>
              <a:rPr lang="nb-NO" noProof="0" dirty="0"/>
              <a:t>Maximum two lines.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0000" y="2343600"/>
            <a:ext cx="5162400" cy="349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                                                      Enter &amp; TAB to view next text style                                  SHIFT+TAB to view previous text style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88A807E-4AA1-4FEA-AB62-F9D6365F357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0000" y="1951200"/>
            <a:ext cx="5162400" cy="277200"/>
          </a:xfrm>
        </p:spPr>
        <p:txBody>
          <a:bodyPr tIns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noProof="0" dirty="0"/>
              <a:t>Click to add subtitle</a:t>
            </a:r>
            <a:endParaRPr lang="nb-NO" dirty="0"/>
          </a:p>
        </p:txBody>
      </p:sp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7422ADD6-AE42-CB1E-A050-D14388B200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66000" y="1119600"/>
            <a:ext cx="5677200" cy="4719600"/>
          </a:xfrm>
          <a:solidFill>
            <a:schemeClr val="bg1">
              <a:lumMod val="85000"/>
            </a:schemeClr>
          </a:solidFill>
        </p:spPr>
        <p:txBody>
          <a:bodyPr lIns="36000" tIns="36000" rIns="36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nb-NO"/>
              <a:t>Click on frame and insert picture via Templafy Images.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4A4D7B90-67BD-6920-8899-9442A62A92C4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50000" y="363600"/>
            <a:ext cx="5162400" cy="2592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b="0">
                <a:solidFill>
                  <a:schemeClr val="tx2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nb-NO" dirty="0"/>
              <a:t>Click to add chapter</a:t>
            </a:r>
            <a:endParaRPr lang="nb-NO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C3335985-F2B0-34FE-DE67-9F4BC0E20A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0000" y="6188400"/>
            <a:ext cx="7664400" cy="316800"/>
          </a:xfrm>
        </p:spPr>
        <p:txBody>
          <a:bodyPr anchor="b" anchorCtr="0"/>
          <a:lstStyle>
            <a:lvl1pPr marL="0" indent="0">
              <a:buNone/>
              <a:defRPr lang="en-US" sz="7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nb-NO" dirty="0"/>
              <a:t>Click to edit source</a:t>
            </a:r>
            <a:endParaRPr lang="nb-NO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F797311-4B52-7DA7-DCF4-2522C7DA1AB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5CB524-D87B-89E0-0E93-3A7169288DF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9529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21" userDrawn="1">
          <p15:clr>
            <a:srgbClr val="A4A3A4"/>
          </p15:clr>
        </p15:guide>
        <p15:guide id="2" pos="3535" userDrawn="1">
          <p15:clr>
            <a:srgbClr val="A4A3A4"/>
          </p15:clr>
        </p15:guide>
        <p15:guide id="3" orient="horz" pos="1229" userDrawn="1">
          <p15:clr>
            <a:srgbClr val="A4A3A4"/>
          </p15:clr>
        </p15:guide>
        <p15:guide id="4" orient="horz" pos="1476" userDrawn="1">
          <p15:clr>
            <a:srgbClr val="A4A3A4"/>
          </p15:clr>
        </p15:guide>
        <p15:guide id="5" orient="horz" pos="705" userDrawn="1">
          <p15:clr>
            <a:srgbClr val="A4A3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210FF201-3A79-42F5-8DA1-12220F451D2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0000" y="1119600"/>
            <a:ext cx="5162400" cy="4719600"/>
          </a:xfrm>
          <a:solidFill>
            <a:schemeClr val="bg1">
              <a:lumMod val="85000"/>
            </a:schemeClr>
          </a:solidFill>
        </p:spPr>
        <p:txBody>
          <a:bodyPr lIns="36000" tIns="36000" rIns="36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nb-NO"/>
              <a:t>Click on frame and insert picture via Templafy Images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D4E1684-A2E4-CAEA-9C67-031E6508D2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80400" y="622800"/>
            <a:ext cx="4554000" cy="982800"/>
          </a:xfrm>
        </p:spPr>
        <p:txBody>
          <a:bodyPr/>
          <a:lstStyle/>
          <a:p>
            <a:r>
              <a:rPr lang="nb-NO" noProof="0" dirty="0"/>
              <a:t>Click to add title. </a:t>
            </a:r>
            <a:br>
              <a:rPr lang="en-GB" noProof="0" dirty="0"/>
            </a:br>
            <a:r>
              <a:rPr lang="nb-NO" noProof="0" dirty="0"/>
              <a:t>Maximum two lines.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80400" y="1951200"/>
            <a:ext cx="5162400" cy="388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                                                      Enter &amp; TAB to view next text style                                  SHIFT+TAB to view previous text style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A3B5D920-EBBB-DF1E-9A3B-AF64462CD588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9999" y="363600"/>
            <a:ext cx="5162399" cy="2592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b="0">
                <a:solidFill>
                  <a:schemeClr val="tx2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nb-NO" dirty="0"/>
              <a:t>Click to add chapter</a:t>
            </a:r>
            <a:endParaRPr lang="nb-NO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D40D2845-40CB-249A-8A12-2DF08918788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80400" y="6188400"/>
            <a:ext cx="2566800" cy="316800"/>
          </a:xfrm>
        </p:spPr>
        <p:txBody>
          <a:bodyPr anchor="b" anchorCtr="0"/>
          <a:lstStyle>
            <a:lvl1pPr marL="0" indent="0">
              <a:buNone/>
              <a:defRPr lang="en-US" sz="7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nb-NO" dirty="0"/>
              <a:t>Click to edit source</a:t>
            </a:r>
            <a:endParaRPr lang="nb-NO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F4DAB64-F95F-F0A1-CC0B-F7E7B22DC84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422FD456-FCAF-42A7-83AC-576433D435DC}" type="datetime3">
              <a:rPr lang="nb-NO" smtClean="0"/>
              <a:t>2024.02.14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CF88B1-69D5-DA88-EF3B-42A48008B3B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5DC5F66-032A-CD9E-3468-15625EB4FE5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10965600" y="6188400"/>
            <a:ext cx="277200" cy="309600"/>
          </a:xfrm>
        </p:spPr>
        <p:txBody>
          <a:bodyPr/>
          <a:lstStyle/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62489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35" userDrawn="1">
          <p15:clr>
            <a:srgbClr val="A4A3A4"/>
          </p15:clr>
        </p15:guide>
        <p15:guide id="2" pos="3830" userDrawn="1">
          <p15:clr>
            <a:srgbClr val="A4A3A4"/>
          </p15:clr>
        </p15:guide>
        <p15:guide id="3" orient="horz" pos="705" userDrawn="1">
          <p15:clr>
            <a:srgbClr val="A4A3A4"/>
          </p15:clr>
        </p15:guide>
        <p15:guide id="4" orient="horz" pos="1229" userDrawn="1">
          <p15:clr>
            <a:srgbClr val="A4A3A4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, Content and Pictur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7A5F7D09-CC08-03BC-75B4-B942599AF478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422FD456-FCAF-42A7-83AC-576433D435DC}" type="datetime3">
              <a:rPr lang="nb-NO" smtClean="0"/>
              <a:t>2024.02.14</a:t>
            </a:fld>
            <a:endParaRPr lang="nb-NO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18AE4DBD-E2B7-3F23-A2B4-C976EBD3B9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80400" y="622800"/>
            <a:ext cx="4552675" cy="982800"/>
          </a:xfrm>
        </p:spPr>
        <p:txBody>
          <a:bodyPr/>
          <a:lstStyle/>
          <a:p>
            <a:r>
              <a:rPr lang="nb-NO" noProof="0" dirty="0"/>
              <a:t>Click to add title. </a:t>
            </a:r>
            <a:br>
              <a:rPr lang="en-GB" noProof="0" dirty="0"/>
            </a:br>
            <a:r>
              <a:rPr lang="nb-NO" noProof="0" dirty="0"/>
              <a:t>Maximum two lines.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80400" y="2343600"/>
            <a:ext cx="5162400" cy="3495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                                                      Enter &amp; TAB to view next text style                                  SHIFT+TAB to view previous text style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88A807E-4AA1-4FEA-AB62-F9D6365F357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80400" y="1951200"/>
            <a:ext cx="5162400" cy="277200"/>
          </a:xfrm>
        </p:spPr>
        <p:txBody>
          <a:bodyPr tIns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noProof="0" dirty="0"/>
              <a:t>Click to add subtitle</a:t>
            </a:r>
            <a:endParaRPr lang="nb-NO" dirty="0"/>
          </a:p>
        </p:txBody>
      </p:sp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7422ADD6-AE42-CB1E-A050-D14388B200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50000" y="1119600"/>
            <a:ext cx="5162400" cy="4719600"/>
          </a:xfrm>
          <a:solidFill>
            <a:schemeClr val="bg1">
              <a:lumMod val="85000"/>
            </a:schemeClr>
          </a:solidFill>
        </p:spPr>
        <p:txBody>
          <a:bodyPr lIns="36000" tIns="36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nb-NO"/>
              <a:t>Click on frame and insert picture via Templafy Images.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4A4D7B90-67BD-6920-8899-9442A62A92C4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50000" y="363600"/>
            <a:ext cx="5162400" cy="2592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b="0">
                <a:solidFill>
                  <a:schemeClr val="tx2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nb-NO" dirty="0"/>
              <a:t>Click to add chapter</a:t>
            </a:r>
            <a:endParaRPr lang="nb-NO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C3335985-F2B0-34FE-DE67-9F4BC0E20A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80400" y="6188400"/>
            <a:ext cx="2566800" cy="316800"/>
          </a:xfrm>
        </p:spPr>
        <p:txBody>
          <a:bodyPr anchor="b" anchorCtr="0"/>
          <a:lstStyle>
            <a:lvl1pPr marL="0" indent="0">
              <a:buNone/>
              <a:defRPr lang="en-US" sz="7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nb-NO" dirty="0"/>
              <a:t>Click to edit source</a:t>
            </a:r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79CFF3-C532-0183-BD1C-46A93494252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AC5D3A9-61A7-53BE-8D7E-EF491AC5860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0965600" y="6188400"/>
            <a:ext cx="277200" cy="309600"/>
          </a:xfrm>
        </p:spPr>
        <p:txBody>
          <a:bodyPr/>
          <a:lstStyle/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824097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30" userDrawn="1">
          <p15:clr>
            <a:srgbClr val="A4A3A4"/>
          </p15:clr>
        </p15:guide>
        <p15:guide id="2" pos="3535" userDrawn="1">
          <p15:clr>
            <a:srgbClr val="A4A3A4"/>
          </p15:clr>
        </p15:guide>
        <p15:guide id="3" orient="horz" pos="1229" userDrawn="1">
          <p15:clr>
            <a:srgbClr val="A4A3A4"/>
          </p15:clr>
        </p15:guide>
        <p15:guide id="4" orient="horz" pos="1476" userDrawn="1">
          <p15:clr>
            <a:srgbClr val="A4A3A4"/>
          </p15:clr>
        </p15:guide>
        <p15:guide id="5" orient="horz" pos="705" userDrawn="1">
          <p15:clr>
            <a:srgbClr val="A4A3A4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Picture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Date Placeholder 14" hidden="1">
            <a:extLst>
              <a:ext uri="{FF2B5EF4-FFF2-40B4-BE49-F238E27FC236}">
                <a16:creationId xmlns:a16="http://schemas.microsoft.com/office/drawing/2014/main" id="{30CD192C-1F49-22F1-AFED-B74B1C10E19F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422FD456-FCAF-42A7-83AC-576433D435DC}" type="datetime3">
              <a:rPr lang="nb-NO" smtClean="0"/>
              <a:t>2024.02.14</a:t>
            </a:fld>
            <a:endParaRPr lang="nb-NO"/>
          </a:p>
        </p:txBody>
      </p:sp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7422ADD6-AE42-CB1E-A050-D14388B200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49999" y="1951200"/>
            <a:ext cx="5162400" cy="2113200"/>
          </a:xfrm>
          <a:solidFill>
            <a:schemeClr val="bg1">
              <a:lumMod val="85000"/>
            </a:schemeClr>
          </a:solidFill>
        </p:spPr>
        <p:txBody>
          <a:bodyPr lIns="36000" tIns="36000" rIns="36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nb-NO"/>
              <a:t>Click on frame and insert picture via Templafy Images.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18AE4DBD-E2B7-3F23-A2B4-C976EBD3B9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999" y="622800"/>
            <a:ext cx="10183075" cy="982800"/>
          </a:xfrm>
        </p:spPr>
        <p:txBody>
          <a:bodyPr/>
          <a:lstStyle/>
          <a:p>
            <a:r>
              <a:rPr lang="nb-NO" noProof="0" dirty="0"/>
              <a:t>Click to add title. </a:t>
            </a:r>
            <a:br>
              <a:rPr lang="en-GB" noProof="0" dirty="0"/>
            </a:br>
            <a:r>
              <a:rPr lang="nb-NO" noProof="0" dirty="0"/>
              <a:t>Maximum two lines.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0000" y="4651200"/>
            <a:ext cx="5162400" cy="118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                                                      Enter &amp; TAB to view next text style                                  SHIFT+TAB to view previous text style</a:t>
            </a:r>
            <a:endParaRPr lang="nb-NO"/>
          </a:p>
          <a:p>
            <a:pPr lvl="1"/>
            <a:endParaRPr lang="nb-NO" noProof="0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4A4D7B90-67BD-6920-8899-9442A62A92C4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9999" y="363600"/>
            <a:ext cx="10183075" cy="2592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b="0">
                <a:solidFill>
                  <a:schemeClr val="tx2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nb-NO" dirty="0"/>
              <a:t>Click to add chapter</a:t>
            </a:r>
            <a:endParaRPr lang="nb-NO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C3335985-F2B0-34FE-DE67-9F4BC0E20A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0000" y="6188400"/>
            <a:ext cx="7664400" cy="316800"/>
          </a:xfrm>
        </p:spPr>
        <p:txBody>
          <a:bodyPr anchor="b" anchorCtr="0"/>
          <a:lstStyle>
            <a:lvl1pPr marL="0" indent="0">
              <a:buNone/>
              <a:defRPr lang="en-US" sz="7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nb-NO" dirty="0"/>
              <a:t>Click to edit source</a:t>
            </a:r>
            <a:endParaRPr lang="nb-NO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F797311-4B52-7DA7-DCF4-2522C7DA1AB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5CB524-D87B-89E0-0E93-3A7169288DF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0965600" y="6188400"/>
            <a:ext cx="277200" cy="309600"/>
          </a:xfrm>
        </p:spPr>
        <p:txBody>
          <a:bodyPr/>
          <a:lstStyle/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42E337EE-C2DD-CCAA-5FD6-BC14380DFC5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80400" y="1951200"/>
            <a:ext cx="5162400" cy="2113200"/>
          </a:xfrm>
          <a:solidFill>
            <a:schemeClr val="bg1">
              <a:lumMod val="85000"/>
            </a:schemeClr>
          </a:solidFill>
        </p:spPr>
        <p:txBody>
          <a:bodyPr lIns="36000" tIns="36000" rIns="36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nb-NO"/>
              <a:t>Click on frame and insert picture via Templafy Images.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3F0B3FB-2631-5F27-0438-D46D94661AAD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080400" y="4651200"/>
            <a:ext cx="5162400" cy="11844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                                                      Enter &amp; TAB to view next text style                                  SHIFT+TAB to view previous text style</a:t>
            </a:r>
            <a:endParaRPr lang="nb-NO"/>
          </a:p>
          <a:p>
            <a:pPr lvl="1"/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2960419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535" userDrawn="1">
          <p15:clr>
            <a:srgbClr val="A4A3A4"/>
          </p15:clr>
        </p15:guide>
        <p15:guide id="3" pos="3830" userDrawn="1">
          <p15:clr>
            <a:srgbClr val="A4A3A4"/>
          </p15:clr>
        </p15:guide>
        <p15:guide id="4" orient="horz" pos="2929" userDrawn="1">
          <p15:clr>
            <a:srgbClr val="A4A3A4"/>
          </p15:clr>
        </p15:guide>
        <p15:guide id="5" orient="horz" pos="1229" userDrawn="1">
          <p15:clr>
            <a:srgbClr val="A4A3A4"/>
          </p15:clr>
        </p15:guide>
        <p15:guide id="6" orient="horz" pos="2560" userDrawn="1">
          <p15:clr>
            <a:srgbClr val="A4A3A4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Date Placeholder 14" hidden="1">
            <a:extLst>
              <a:ext uri="{FF2B5EF4-FFF2-40B4-BE49-F238E27FC236}">
                <a16:creationId xmlns:a16="http://schemas.microsoft.com/office/drawing/2014/main" id="{30CD192C-1F49-22F1-AFED-B74B1C10E19F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422FD456-FCAF-42A7-83AC-576433D435DC}" type="datetime3">
              <a:rPr lang="nb-NO" smtClean="0"/>
              <a:t>2024.02.14</a:t>
            </a:fld>
            <a:endParaRPr lang="nb-NO"/>
          </a:p>
        </p:txBody>
      </p:sp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7422ADD6-AE42-CB1E-A050-D14388B200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49999" y="1951200"/>
            <a:ext cx="5162400" cy="2113200"/>
          </a:xfrm>
          <a:solidFill>
            <a:schemeClr val="bg1">
              <a:lumMod val="85000"/>
            </a:schemeClr>
          </a:solidFill>
        </p:spPr>
        <p:txBody>
          <a:bodyPr lIns="36000" tIns="36000" rIns="36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nb-NO"/>
              <a:t>Click on frame and insert picture via Templafy Images.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18AE4DBD-E2B7-3F23-A2B4-C976EBD3B9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999" y="622800"/>
            <a:ext cx="10183075" cy="982800"/>
          </a:xfrm>
        </p:spPr>
        <p:txBody>
          <a:bodyPr/>
          <a:lstStyle/>
          <a:p>
            <a:r>
              <a:rPr lang="nb-NO" noProof="0" dirty="0"/>
              <a:t>Click to add title. </a:t>
            </a:r>
            <a:br>
              <a:rPr lang="en-GB" noProof="0" dirty="0"/>
            </a:br>
            <a:r>
              <a:rPr lang="nb-NO" noProof="0" dirty="0"/>
              <a:t>Maximum two lines.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0000" y="5011200"/>
            <a:ext cx="5162400" cy="8276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                                                      Enter &amp; TAB to view next text style                                  SHIFT+TAB to view previous text style</a:t>
            </a:r>
            <a:endParaRPr lang="nb-NO"/>
          </a:p>
          <a:p>
            <a:pPr lvl="1"/>
            <a:endParaRPr lang="nb-NO" noProof="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88A807E-4AA1-4FEA-AB62-F9D6365F357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0000" y="4651199"/>
            <a:ext cx="5162400" cy="277200"/>
          </a:xfrm>
        </p:spPr>
        <p:txBody>
          <a:bodyPr tIns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noProof="0" dirty="0"/>
              <a:t>Click to add subtitle</a:t>
            </a:r>
            <a:endParaRPr lang="nb-NO" dirty="0"/>
          </a:p>
          <a:p>
            <a:pPr lvl="0"/>
            <a:endParaRPr lang="nb-NO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4A4D7B90-67BD-6920-8899-9442A62A92C4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9999" y="363600"/>
            <a:ext cx="10183075" cy="2592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b="0">
                <a:solidFill>
                  <a:schemeClr val="tx2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nb-NO" dirty="0"/>
              <a:t>Click to add chapter</a:t>
            </a:r>
            <a:endParaRPr lang="nb-NO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C3335985-F2B0-34FE-DE67-9F4BC0E20A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0000" y="6188400"/>
            <a:ext cx="7664400" cy="316800"/>
          </a:xfrm>
        </p:spPr>
        <p:txBody>
          <a:bodyPr anchor="b" anchorCtr="0"/>
          <a:lstStyle>
            <a:lvl1pPr marL="0" indent="0">
              <a:buNone/>
              <a:defRPr lang="en-US" sz="7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nb-NO" dirty="0"/>
              <a:t>Click to edit source</a:t>
            </a:r>
            <a:endParaRPr lang="nb-NO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F797311-4B52-7DA7-DCF4-2522C7DA1AB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5CB524-D87B-89E0-0E93-3A7169288DF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0965600" y="6188400"/>
            <a:ext cx="277200" cy="309600"/>
          </a:xfrm>
        </p:spPr>
        <p:txBody>
          <a:bodyPr/>
          <a:lstStyle/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42E337EE-C2DD-CCAA-5FD6-BC14380DFC5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80400" y="1951200"/>
            <a:ext cx="5162400" cy="2113200"/>
          </a:xfrm>
          <a:solidFill>
            <a:schemeClr val="bg1">
              <a:lumMod val="85000"/>
            </a:schemeClr>
          </a:solidFill>
        </p:spPr>
        <p:txBody>
          <a:bodyPr lIns="36000" tIns="36000" rIns="36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nb-NO"/>
              <a:t>Click on frame and insert picture via Templafy Images.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3F0B3FB-2631-5F27-0438-D46D94661AAD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080400" y="5011200"/>
            <a:ext cx="5162400" cy="8276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                                                      Enter &amp; TAB to view next text style                                  SHIFT+TAB to view previous text style</a:t>
            </a:r>
            <a:endParaRPr lang="nb-NO"/>
          </a:p>
          <a:p>
            <a:pPr lvl="1"/>
            <a:endParaRPr lang="nb-NO" noProof="0" dirty="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4F4B1FB8-9A26-9994-3BEB-92256710049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80400" y="4651199"/>
            <a:ext cx="5162400" cy="277200"/>
          </a:xfrm>
        </p:spPr>
        <p:txBody>
          <a:bodyPr tIns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lvl="0"/>
            <a:r>
              <a:rPr lang="nb-NO" dirty="0"/>
              <a:t>Click to add subtit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4677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535" userDrawn="1">
          <p15:clr>
            <a:srgbClr val="A4A3A4"/>
          </p15:clr>
        </p15:guide>
        <p15:guide id="3" pos="3830" userDrawn="1">
          <p15:clr>
            <a:srgbClr val="A4A3A4"/>
          </p15:clr>
        </p15:guide>
        <p15:guide id="4" orient="horz" pos="2929" userDrawn="1">
          <p15:clr>
            <a:srgbClr val="A4A3A4"/>
          </p15:clr>
        </p15:guide>
        <p15:guide id="5" orient="horz" pos="1229" userDrawn="1">
          <p15:clr>
            <a:srgbClr val="A4A3A4"/>
          </p15:clr>
        </p15:guide>
        <p15:guide id="6" orient="horz" pos="2561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 Pictur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8" hidden="1">
            <a:extLst>
              <a:ext uri="{FF2B5EF4-FFF2-40B4-BE49-F238E27FC236}">
                <a16:creationId xmlns:a16="http://schemas.microsoft.com/office/drawing/2014/main" id="{220B45A4-E20A-5C3C-FE82-277045C9742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Gjensidige Forsikring Group</a:t>
            </a:r>
          </a:p>
        </p:txBody>
      </p:sp>
      <p:sp>
        <p:nvSpPr>
          <p:cNvPr id="6" name="Slide Number Placeholder 10" hidden="1">
            <a:extLst>
              <a:ext uri="{FF2B5EF4-FFF2-40B4-BE49-F238E27FC236}">
                <a16:creationId xmlns:a16="http://schemas.microsoft.com/office/drawing/2014/main" id="{AB663CB4-A76A-20A2-3BF1-FC82A581AAA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1786C404-B396-7655-ECB6-1ABFA5CA120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794"/>
            <a:ext cx="12192000" cy="6858794"/>
          </a:xfrm>
          <a:solidFill>
            <a:schemeClr val="bg1">
              <a:lumMod val="85000"/>
            </a:schemeClr>
          </a:solidFill>
        </p:spPr>
        <p:txBody>
          <a:bodyPr lIns="36000" tIns="36000" rIns="36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rgbClr val="090C33"/>
                </a:solidFill>
              </a:defRPr>
            </a:lvl1pPr>
          </a:lstStyle>
          <a:p>
            <a:r>
              <a:rPr lang="nb-NO"/>
              <a:t>To insert picture from Templafy click on slide frame and select from Templafy Images.</a:t>
            </a:r>
          </a:p>
          <a:p>
            <a:r>
              <a:rPr lang="nb-NO"/>
              <a:t>To insert picture from local computer, insert text in the title field first to access the picture icon.</a:t>
            </a:r>
          </a:p>
        </p:txBody>
      </p:sp>
      <p:sp>
        <p:nvSpPr>
          <p:cNvPr id="13" name="Plassholder for tekst logo">
            <a:extLst>
              <a:ext uri="{FF2B5EF4-FFF2-40B4-BE49-F238E27FC236}">
                <a16:creationId xmlns:a16="http://schemas.microsoft.com/office/drawing/2014/main" id="{D9A12227-07AB-B352-ADA7-7FE8C687A30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886445" y="251489"/>
            <a:ext cx="2051840" cy="508188"/>
          </a:xfrm>
          <a:prstGeom prst="rect">
            <a:avLst/>
          </a:prstGeo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90C33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 dirty="0"/>
              <a:t> </a:t>
            </a:r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53437" y="1692767"/>
            <a:ext cx="11706622" cy="3922966"/>
          </a:xfrm>
        </p:spPr>
        <p:txBody>
          <a:bodyPr anchor="b"/>
          <a:lstStyle>
            <a:lvl1pPr indent="1008202" algn="l">
              <a:lnSpc>
                <a:spcPct val="90000"/>
              </a:lnSpc>
              <a:defRPr sz="9002">
                <a:solidFill>
                  <a:srgbClr val="F4FFAF"/>
                </a:solidFill>
              </a:defRPr>
            </a:lvl1pPr>
          </a:lstStyle>
          <a:p>
            <a:r>
              <a:rPr lang="nb-NO" dirty="0"/>
              <a:t>Click to add short title</a:t>
            </a:r>
            <a:endParaRPr lang="nb-NO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3437" y="6306280"/>
            <a:ext cx="9144000" cy="36199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rgbClr val="F4FFAF"/>
                </a:solidFill>
                <a:latin typeface="Gjensidige Type" pitchFamily="50" charset="0"/>
                <a:ea typeface="Arial" pitchFamily="34" charset="0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dirty="0"/>
              <a:t>Click to edit Master subtitle style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A518770-FAD8-47CF-E2C0-9D39516FB309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651667" y="6447258"/>
            <a:ext cx="2308391" cy="221018"/>
          </a:xfrm>
        </p:spPr>
        <p:txBody>
          <a:bodyPr bIns="36000"/>
          <a:lstStyle>
            <a:lvl1pPr algn="r">
              <a:defRPr sz="1200">
                <a:solidFill>
                  <a:srgbClr val="F4FFAF"/>
                </a:solidFill>
                <a:latin typeface="Gjensidige Type" pitchFamily="50" charset="0"/>
                <a:ea typeface="Arial" pitchFamily="34" charset="0"/>
              </a:defRPr>
            </a:lvl1pPr>
          </a:lstStyle>
          <a:p>
            <a:r>
              <a:rPr lang="nb-NO"/>
              <a:t>Date, Month Year</a:t>
            </a:r>
          </a:p>
        </p:txBody>
      </p:sp>
    </p:spTree>
    <p:extLst>
      <p:ext uri="{BB962C8B-B14F-4D97-AF65-F5344CB8AC3E}">
        <p14:creationId xmlns:p14="http://schemas.microsoft.com/office/powerpoint/2010/main" val="289374728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066" userDrawn="1">
          <p15:clr>
            <a:srgbClr val="A4A3A4"/>
          </p15:clr>
        </p15:guide>
        <p15:guide id="2" orient="horz" pos="3537" userDrawn="1">
          <p15:clr>
            <a:srgbClr val="A4A3A4"/>
          </p15:clr>
        </p15:guide>
        <p15:guide id="3" pos="159" userDrawn="1">
          <p15:clr>
            <a:srgbClr val="A4A3A4"/>
          </p15:clr>
        </p15:guide>
        <p15:guide id="4" pos="7533" userDrawn="1">
          <p15:clr>
            <a:srgbClr val="A4A3A4"/>
          </p15:clr>
        </p15:guide>
        <p15:guide id="5" orient="horz" pos="4201" userDrawn="1">
          <p15:clr>
            <a:srgbClr val="A4A3A4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Sub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ECB93985-923A-1D9F-8099-E3B4F4BFEB5F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422FD456-FCAF-42A7-83AC-576433D435DC}" type="datetime3">
              <a:rPr lang="nb-NO" smtClean="0"/>
              <a:t>2024.02.14</a:t>
            </a:fld>
            <a:endParaRPr lang="nb-NO"/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4C4254AA-577C-4CDA-A90D-35AF0657158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50000" y="1951200"/>
            <a:ext cx="3182400" cy="3596400"/>
          </a:xfrm>
          <a:solidFill>
            <a:schemeClr val="bg1">
              <a:lumMod val="85000"/>
            </a:schemeClr>
          </a:solidFill>
        </p:spPr>
        <p:txBody>
          <a:bodyPr lIns="36000" tIns="36000" rIns="36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nb-NO"/>
              <a:t>Click on frame and insert picture via Templafy Images.</a:t>
            </a:r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45E66174-A5DE-4CF9-875D-0CBEDDD79AB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258800" y="1951200"/>
            <a:ext cx="3182400" cy="3596400"/>
          </a:xfrm>
          <a:solidFill>
            <a:schemeClr val="bg1">
              <a:lumMod val="85000"/>
            </a:schemeClr>
          </a:solidFill>
        </p:spPr>
        <p:txBody>
          <a:bodyPr lIns="36000" tIns="36000" rIns="36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nb-NO"/>
              <a:t>Click on frame and insert picture via Templafy Images.</a:t>
            </a:r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CF75C542-F91E-4467-8735-847C562D112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064000" y="1951200"/>
            <a:ext cx="3182400" cy="3596400"/>
          </a:xfrm>
          <a:solidFill>
            <a:schemeClr val="bg1">
              <a:lumMod val="85000"/>
            </a:schemeClr>
          </a:solidFill>
        </p:spPr>
        <p:txBody>
          <a:bodyPr lIns="36000" tIns="36000" rIns="36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nb-NO"/>
              <a:t>Click on frame and insert picture via Templafy Images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8325DF3-B920-6836-D0F1-F6AF616696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000" y="622800"/>
            <a:ext cx="10184400" cy="982800"/>
          </a:xfrm>
        </p:spPr>
        <p:txBody>
          <a:bodyPr/>
          <a:lstStyle/>
          <a:p>
            <a:r>
              <a:rPr lang="nb-NO" noProof="0" dirty="0"/>
              <a:t>Click to add title. </a:t>
            </a:r>
            <a:br>
              <a:rPr lang="en-GB" noProof="0" dirty="0"/>
            </a:br>
            <a:r>
              <a:rPr lang="nb-NO" noProof="0" dirty="0"/>
              <a:t>Maximum two lines.</a:t>
            </a:r>
            <a:endParaRPr lang="nb-NO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88A807E-4AA1-4FEA-AB62-F9D6365F357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0000" y="5839200"/>
            <a:ext cx="3182400" cy="277200"/>
          </a:xfrm>
        </p:spPr>
        <p:txBody>
          <a:bodyPr tIns="0" anchor="b" anchorCtr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noProof="0" dirty="0"/>
              <a:t>Click to add subtitle</a:t>
            </a:r>
            <a:endParaRPr lang="nb-NO" dirty="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B81790BE-18ED-4BEB-ABA8-7B9EF2BF31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58800" y="5839200"/>
            <a:ext cx="3182400" cy="277200"/>
          </a:xfrm>
        </p:spPr>
        <p:txBody>
          <a:bodyPr tIns="0" anchor="b" anchorCtr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lvl="0"/>
            <a:r>
              <a:rPr lang="nb-NO" dirty="0"/>
              <a:t>Click to add subtitle</a:t>
            </a:r>
            <a:endParaRPr lang="nb-NO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068249E7-8044-4532-BAEE-D4EAFF9C2A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64000" y="5839200"/>
            <a:ext cx="3182400" cy="277200"/>
          </a:xfrm>
        </p:spPr>
        <p:txBody>
          <a:bodyPr tIns="0" anchor="b" anchorCtr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lvl="0"/>
            <a:r>
              <a:rPr lang="nb-NO" dirty="0"/>
              <a:t>Click to add subtitle</a:t>
            </a:r>
            <a:endParaRPr lang="nb-NO"/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93BAF5A4-0C09-456B-207B-021AE456E908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9999" y="363600"/>
            <a:ext cx="10183075" cy="2592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b="0">
                <a:solidFill>
                  <a:schemeClr val="tx2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nb-NO" dirty="0"/>
              <a:t>Click to add chapter</a:t>
            </a:r>
            <a:endParaRPr lang="nb-NO"/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C0197FE6-084B-096A-D924-BEA1CC10913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0000" y="6188400"/>
            <a:ext cx="7664400" cy="316800"/>
          </a:xfrm>
        </p:spPr>
        <p:txBody>
          <a:bodyPr anchor="b" anchorCtr="0"/>
          <a:lstStyle>
            <a:lvl1pPr marL="0" indent="0">
              <a:buNone/>
              <a:defRPr lang="en-US" sz="7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nb-NO" dirty="0"/>
              <a:t>Click to edit source</a:t>
            </a:r>
            <a:endParaRPr lang="nb-NO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2CA7ABCF-424C-177C-3CBA-C3101B93789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E4408931-9E36-3F8B-B8F6-A940C3B7DDB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61629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79" userDrawn="1">
          <p15:clr>
            <a:srgbClr val="A4A3A4"/>
          </p15:clr>
        </p15:guide>
        <p15:guide id="2" pos="2682" userDrawn="1">
          <p15:clr>
            <a:srgbClr val="A4A3A4"/>
          </p15:clr>
        </p15:guide>
        <p15:guide id="3" pos="2288" userDrawn="1">
          <p15:clr>
            <a:srgbClr val="A4A3A4"/>
          </p15:clr>
        </p15:guide>
        <p15:guide id="4" pos="4688" userDrawn="1">
          <p15:clr>
            <a:srgbClr val="A4A3A4"/>
          </p15:clr>
        </p15:guide>
        <p15:guide id="6" orient="horz" pos="3495" userDrawn="1">
          <p15:clr>
            <a:srgbClr val="A4A3A4"/>
          </p15:clr>
        </p15:guide>
        <p15:guide id="7" orient="horz" pos="1229" userDrawn="1">
          <p15:clr>
            <a:srgbClr val="A4A3A4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Picture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Date Placeholder 22" hidden="1">
            <a:extLst>
              <a:ext uri="{FF2B5EF4-FFF2-40B4-BE49-F238E27FC236}">
                <a16:creationId xmlns:a16="http://schemas.microsoft.com/office/drawing/2014/main" id="{6CA1BB8F-36BE-0EF0-9923-BEC18BCDA345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422FD456-FCAF-42A7-83AC-576433D435DC}" type="datetime3">
              <a:rPr lang="nb-NO" smtClean="0"/>
              <a:t>2024.02.14</a:t>
            </a:fld>
            <a:endParaRPr lang="nb-NO"/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4C4254AA-577C-4CDA-A90D-35AF0657158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50000" y="1951200"/>
            <a:ext cx="3182400" cy="1753200"/>
          </a:xfrm>
          <a:solidFill>
            <a:schemeClr val="bg1">
              <a:lumMod val="85000"/>
            </a:schemeClr>
          </a:solidFill>
        </p:spPr>
        <p:txBody>
          <a:bodyPr lIns="36000" tIns="36000" rIns="36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nb-NO"/>
              <a:t>Click on frame and insert picture via Templafy Images.</a:t>
            </a:r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45E66174-A5DE-4CF9-875D-0CBEDDD79AB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258800" y="1951200"/>
            <a:ext cx="3182400" cy="1753200"/>
          </a:xfrm>
          <a:solidFill>
            <a:schemeClr val="bg1">
              <a:lumMod val="85000"/>
            </a:schemeClr>
          </a:solidFill>
        </p:spPr>
        <p:txBody>
          <a:bodyPr lIns="36000" tIns="36000" rIns="36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nb-NO"/>
              <a:t>Click on frame and insert picture via Templafy Images.</a:t>
            </a:r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CF75C542-F91E-4467-8735-847C562D112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064000" y="1951200"/>
            <a:ext cx="3182400" cy="1753200"/>
          </a:xfrm>
          <a:solidFill>
            <a:schemeClr val="bg1">
              <a:lumMod val="85000"/>
            </a:schemeClr>
          </a:solidFill>
        </p:spPr>
        <p:txBody>
          <a:bodyPr lIns="36000" tIns="36000" rIns="36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nb-NO"/>
              <a:t>Click on frame and insert picture via Templafy Images.</a:t>
            </a:r>
          </a:p>
        </p:txBody>
      </p:sp>
      <p:sp>
        <p:nvSpPr>
          <p:cNvPr id="22" name="Title 21">
            <a:extLst>
              <a:ext uri="{FF2B5EF4-FFF2-40B4-BE49-F238E27FC236}">
                <a16:creationId xmlns:a16="http://schemas.microsoft.com/office/drawing/2014/main" id="{82EE4190-E6FE-EFB3-FB4C-87901B1482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000" y="622800"/>
            <a:ext cx="10184400" cy="982800"/>
          </a:xfrm>
        </p:spPr>
        <p:txBody>
          <a:bodyPr/>
          <a:lstStyle/>
          <a:p>
            <a:r>
              <a:rPr lang="nb-NO" noProof="0" dirty="0"/>
              <a:t>Click to add title. </a:t>
            </a:r>
            <a:br>
              <a:rPr lang="en-GB" noProof="0" dirty="0"/>
            </a:br>
            <a:r>
              <a:rPr lang="nb-NO" noProof="0" dirty="0"/>
              <a:t>Maximum two lines.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0000" y="4067999"/>
            <a:ext cx="3207600" cy="17708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              Enter &amp; TAB to view next text style                                  SHIFT+TAB to view previous text style</a:t>
            </a:r>
            <a:endParaRPr lang="nb-NO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83276C0-1F78-45A2-939F-D5F7DA307B5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258800" y="4067999"/>
            <a:ext cx="3182400" cy="17708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              Enter &amp; TAB to view next text style                                  SHIFT+TAB to view previous text style</a:t>
            </a:r>
            <a:endParaRPr lang="nb-NO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06739BFD-D1FF-4065-AB78-7106C371DFD1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8064000" y="4067999"/>
            <a:ext cx="3182400" cy="17708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              Enter &amp; TAB to view next text style                                  SHIFT+TAB to view previous text style</a:t>
            </a:r>
            <a:endParaRPr lang="nb-NO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53E30EC4-218E-04BB-44EB-8B1A2046787E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9999" y="363600"/>
            <a:ext cx="10183075" cy="2592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b="0">
                <a:solidFill>
                  <a:schemeClr val="tx2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nb-NO" dirty="0"/>
              <a:t>Click to add chapter</a:t>
            </a:r>
            <a:endParaRPr lang="nb-NO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74A05A11-DF78-C41C-50F3-D327E82883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0000" y="6188400"/>
            <a:ext cx="7664400" cy="316800"/>
          </a:xfrm>
        </p:spPr>
        <p:txBody>
          <a:bodyPr anchor="b" anchorCtr="0"/>
          <a:lstStyle>
            <a:lvl1pPr marL="0" indent="0">
              <a:buNone/>
              <a:defRPr lang="en-US" sz="7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nb-NO" dirty="0"/>
              <a:t>Click to edit source</a:t>
            </a:r>
            <a:endParaRPr lang="nb-NO"/>
          </a:p>
        </p:txBody>
      </p:sp>
      <p:sp>
        <p:nvSpPr>
          <p:cNvPr id="24" name="Footer Placeholder 23">
            <a:extLst>
              <a:ext uri="{FF2B5EF4-FFF2-40B4-BE49-F238E27FC236}">
                <a16:creationId xmlns:a16="http://schemas.microsoft.com/office/drawing/2014/main" id="{B884F9DF-5E8F-1DD1-81EE-ECF8078D953E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25" name="Slide Number Placeholder 24">
            <a:extLst>
              <a:ext uri="{FF2B5EF4-FFF2-40B4-BE49-F238E27FC236}">
                <a16:creationId xmlns:a16="http://schemas.microsoft.com/office/drawing/2014/main" id="{46ECFC9E-B91B-AC06-91BB-82702F02527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846570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82" userDrawn="1">
          <p15:clr>
            <a:srgbClr val="A4A3A4"/>
          </p15:clr>
        </p15:guide>
        <p15:guide id="2" pos="5079" userDrawn="1">
          <p15:clr>
            <a:srgbClr val="A4A3A4"/>
          </p15:clr>
        </p15:guide>
        <p15:guide id="3" orient="horz" pos="2561" userDrawn="1">
          <p15:clr>
            <a:srgbClr val="A4A3A4"/>
          </p15:clr>
        </p15:guide>
        <p15:guide id="5" pos="2288" userDrawn="1">
          <p15:clr>
            <a:srgbClr val="A4A3A4"/>
          </p15:clr>
        </p15:guide>
        <p15:guide id="6" pos="4689" userDrawn="1">
          <p15:clr>
            <a:srgbClr val="A4A3A4"/>
          </p15:clr>
        </p15:guide>
        <p15:guide id="7" orient="horz" pos="2334" userDrawn="1">
          <p15:clr>
            <a:srgbClr val="A4A3A4"/>
          </p15:clr>
        </p15:guide>
        <p15:guide id="8" orient="horz" pos="1229" userDrawn="1">
          <p15:clr>
            <a:srgbClr val="A4A3A4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Date Placeholder 22" hidden="1">
            <a:extLst>
              <a:ext uri="{FF2B5EF4-FFF2-40B4-BE49-F238E27FC236}">
                <a16:creationId xmlns:a16="http://schemas.microsoft.com/office/drawing/2014/main" id="{6CA1BB8F-36BE-0EF0-9923-BEC18BCDA345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422FD456-FCAF-42A7-83AC-576433D435DC}" type="datetime3">
              <a:rPr lang="nb-NO" smtClean="0"/>
              <a:t>2024.02.14</a:t>
            </a:fld>
            <a:endParaRPr lang="nb-NO"/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4C4254AA-577C-4CDA-A90D-35AF0657158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50000" y="1951200"/>
            <a:ext cx="3182400" cy="1753200"/>
          </a:xfrm>
          <a:solidFill>
            <a:schemeClr val="bg1">
              <a:lumMod val="85000"/>
            </a:schemeClr>
          </a:solidFill>
        </p:spPr>
        <p:txBody>
          <a:bodyPr lIns="36000" tIns="36000" rIns="36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nb-NO"/>
              <a:t>Click on frame and insert picture via Templafy Images.</a:t>
            </a:r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45E66174-A5DE-4CF9-875D-0CBEDDD79AB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258800" y="1951200"/>
            <a:ext cx="3182400" cy="1753200"/>
          </a:xfrm>
          <a:solidFill>
            <a:schemeClr val="bg1">
              <a:lumMod val="85000"/>
            </a:schemeClr>
          </a:solidFill>
        </p:spPr>
        <p:txBody>
          <a:bodyPr lIns="36000" tIns="36000" rIns="36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nb-NO"/>
              <a:t>Click on frame and insert picture via Templafy Images.</a:t>
            </a:r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CF75C542-F91E-4467-8735-847C562D112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064000" y="1951200"/>
            <a:ext cx="3182400" cy="1753200"/>
          </a:xfrm>
          <a:solidFill>
            <a:schemeClr val="bg1">
              <a:lumMod val="85000"/>
            </a:schemeClr>
          </a:solidFill>
        </p:spPr>
        <p:txBody>
          <a:bodyPr lIns="36000" tIns="36000" rIns="36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nb-NO"/>
              <a:t>Click on frame and insert picture via Templafy Images.</a:t>
            </a:r>
          </a:p>
        </p:txBody>
      </p:sp>
      <p:sp>
        <p:nvSpPr>
          <p:cNvPr id="22" name="Title 21">
            <a:extLst>
              <a:ext uri="{FF2B5EF4-FFF2-40B4-BE49-F238E27FC236}">
                <a16:creationId xmlns:a16="http://schemas.microsoft.com/office/drawing/2014/main" id="{82EE4190-E6FE-EFB3-FB4C-87901B1482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000" y="622800"/>
            <a:ext cx="10184400" cy="982800"/>
          </a:xfrm>
        </p:spPr>
        <p:txBody>
          <a:bodyPr/>
          <a:lstStyle/>
          <a:p>
            <a:r>
              <a:rPr lang="nb-NO" noProof="0" dirty="0"/>
              <a:t>Click to add title. </a:t>
            </a:r>
            <a:br>
              <a:rPr lang="en-GB" noProof="0" dirty="0"/>
            </a:br>
            <a:r>
              <a:rPr lang="nb-NO" noProof="0" dirty="0"/>
              <a:t>Maximum two lines.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0000" y="4427999"/>
            <a:ext cx="3207600" cy="14108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              Enter &amp; TAB to view next text style                                  SHIFT+TAB to view previous text style</a:t>
            </a:r>
            <a:endParaRPr lang="nb-NO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88A807E-4AA1-4FEA-AB62-F9D6365F357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0000" y="4068000"/>
            <a:ext cx="3182400" cy="277200"/>
          </a:xfrm>
        </p:spPr>
        <p:txBody>
          <a:bodyPr tIns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noProof="0" dirty="0"/>
              <a:t>Click to add subtitle</a:t>
            </a:r>
            <a:endParaRPr lang="nb-NO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83276C0-1F78-45A2-939F-D5F7DA307B5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258800" y="4427999"/>
            <a:ext cx="3182400" cy="14108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              Enter &amp; TAB to view next text style                                  SHIFT+TAB to view previous text style</a:t>
            </a:r>
            <a:endParaRPr lang="nb-NO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B81790BE-18ED-4BEB-ABA8-7B9EF2BF31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58800" y="4068000"/>
            <a:ext cx="3182400" cy="277200"/>
          </a:xfrm>
        </p:spPr>
        <p:txBody>
          <a:bodyPr tIns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lvl="0"/>
            <a:r>
              <a:rPr lang="nb-NO" dirty="0"/>
              <a:t>Click to add subtitle</a:t>
            </a:r>
            <a:endParaRPr lang="nb-NO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06739BFD-D1FF-4065-AB78-7106C371DFD1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8064000" y="4427999"/>
            <a:ext cx="3182400" cy="14108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              Enter &amp; TAB to view next text style                                  SHIFT+TAB to view previous text style</a:t>
            </a:r>
            <a:endParaRPr lang="nb-NO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068249E7-8044-4532-BAEE-D4EAFF9C2A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64000" y="4068000"/>
            <a:ext cx="3182400" cy="277200"/>
          </a:xfrm>
        </p:spPr>
        <p:txBody>
          <a:bodyPr tIns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lvl="0"/>
            <a:r>
              <a:rPr lang="nb-NO" dirty="0"/>
              <a:t>Click to add subtitle</a:t>
            </a:r>
            <a:endParaRPr lang="nb-NO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53E30EC4-218E-04BB-44EB-8B1A2046787E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9999" y="363600"/>
            <a:ext cx="10183075" cy="2592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b="0">
                <a:solidFill>
                  <a:schemeClr val="tx2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nb-NO" dirty="0"/>
              <a:t>Click to add chapter</a:t>
            </a:r>
            <a:endParaRPr lang="nb-NO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74A05A11-DF78-C41C-50F3-D327E82883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0000" y="6188400"/>
            <a:ext cx="7664400" cy="316800"/>
          </a:xfrm>
        </p:spPr>
        <p:txBody>
          <a:bodyPr anchor="b" anchorCtr="0"/>
          <a:lstStyle>
            <a:lvl1pPr marL="0" indent="0">
              <a:buNone/>
              <a:defRPr lang="en-US" sz="7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nb-NO" dirty="0"/>
              <a:t>Click to edit source</a:t>
            </a:r>
            <a:endParaRPr lang="nb-NO"/>
          </a:p>
        </p:txBody>
      </p:sp>
      <p:sp>
        <p:nvSpPr>
          <p:cNvPr id="24" name="Footer Placeholder 23">
            <a:extLst>
              <a:ext uri="{FF2B5EF4-FFF2-40B4-BE49-F238E27FC236}">
                <a16:creationId xmlns:a16="http://schemas.microsoft.com/office/drawing/2014/main" id="{B884F9DF-5E8F-1DD1-81EE-ECF8078D953E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25" name="Slide Number Placeholder 24">
            <a:extLst>
              <a:ext uri="{FF2B5EF4-FFF2-40B4-BE49-F238E27FC236}">
                <a16:creationId xmlns:a16="http://schemas.microsoft.com/office/drawing/2014/main" id="{46ECFC9E-B91B-AC06-91BB-82702F02527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26840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82" userDrawn="1">
          <p15:clr>
            <a:srgbClr val="A4A3A4"/>
          </p15:clr>
        </p15:guide>
        <p15:guide id="2" pos="5079" userDrawn="1">
          <p15:clr>
            <a:srgbClr val="A4A3A4"/>
          </p15:clr>
        </p15:guide>
        <p15:guide id="3" orient="horz" pos="2561" userDrawn="1">
          <p15:clr>
            <a:srgbClr val="A4A3A4"/>
          </p15:clr>
        </p15:guide>
        <p15:guide id="4" orient="horz" pos="2788" userDrawn="1">
          <p15:clr>
            <a:srgbClr val="A4A3A4"/>
          </p15:clr>
        </p15:guide>
        <p15:guide id="5" pos="2288" userDrawn="1">
          <p15:clr>
            <a:srgbClr val="A4A3A4"/>
          </p15:clr>
        </p15:guide>
        <p15:guide id="6" pos="4689" userDrawn="1">
          <p15:clr>
            <a:srgbClr val="A4A3A4"/>
          </p15:clr>
        </p15:guide>
        <p15:guide id="7" orient="horz" pos="2334" userDrawn="1">
          <p15:clr>
            <a:srgbClr val="A4A3A4"/>
          </p15:clr>
        </p15:guide>
        <p15:guide id="8" orient="horz" pos="1229" userDrawn="1">
          <p15:clr>
            <a:srgbClr val="A4A3A4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Sub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C3333C-682A-4B4D-ACEC-AC6C8F548190}" type="datetime3">
              <a:rPr lang="nb-NO" smtClean="0"/>
              <a:t>2024.02.14</a:t>
            </a:fld>
            <a:endParaRPr lang="nb-NO"/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644122F5-F053-4EAC-B8FD-558D5BABAAFC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0000" y="1951200"/>
            <a:ext cx="2473200" cy="3567600"/>
          </a:xfrm>
          <a:solidFill>
            <a:schemeClr val="bg1">
              <a:lumMod val="85000"/>
            </a:schemeClr>
          </a:solidFill>
        </p:spPr>
        <p:txBody>
          <a:bodyPr lIns="36000" tIns="36000" rIns="36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nb-NO"/>
              <a:t>Click on frame and insert picture via Templafy Images.</a:t>
            </a:r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FF1F1888-F9CA-4713-B050-7FD598F1599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229200" y="1951200"/>
            <a:ext cx="2473200" cy="3567600"/>
          </a:xfrm>
          <a:solidFill>
            <a:schemeClr val="bg1">
              <a:lumMod val="85000"/>
            </a:schemeClr>
          </a:solidFill>
        </p:spPr>
        <p:txBody>
          <a:bodyPr lIns="36000" tIns="36000" rIns="36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nb-NO"/>
              <a:t>Click on frame and insert picture via Templafy Images.</a:t>
            </a:r>
          </a:p>
        </p:txBody>
      </p:sp>
      <p:sp>
        <p:nvSpPr>
          <p:cNvPr id="22" name="Picture Placeholder 4">
            <a:extLst>
              <a:ext uri="{FF2B5EF4-FFF2-40B4-BE49-F238E27FC236}">
                <a16:creationId xmlns:a16="http://schemas.microsoft.com/office/drawing/2014/main" id="{61092C68-2BBC-4933-9B2C-5FB9604DE13C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994000" y="1951200"/>
            <a:ext cx="2473200" cy="3567600"/>
          </a:xfrm>
          <a:solidFill>
            <a:schemeClr val="bg1">
              <a:lumMod val="85000"/>
            </a:schemeClr>
          </a:solidFill>
        </p:spPr>
        <p:txBody>
          <a:bodyPr lIns="36000" tIns="36000" rIns="36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nb-NO"/>
              <a:t>Click on frame and insert picture via Templafy Images.</a:t>
            </a:r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E644832C-1CD4-43E7-BA1A-713D50C28B21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8762400" y="1951200"/>
            <a:ext cx="2473200" cy="3567600"/>
          </a:xfrm>
          <a:solidFill>
            <a:schemeClr val="bg1">
              <a:lumMod val="85000"/>
            </a:schemeClr>
          </a:solidFill>
        </p:spPr>
        <p:txBody>
          <a:bodyPr lIns="36000" tIns="36000" rIns="36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nb-NO"/>
              <a:t>Click on frame and insert picture via Templafy Images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0000" y="622800"/>
            <a:ext cx="10184400" cy="982800"/>
          </a:xfrm>
        </p:spPr>
        <p:txBody>
          <a:bodyPr/>
          <a:lstStyle/>
          <a:p>
            <a:r>
              <a:rPr lang="nb-NO" noProof="0" dirty="0"/>
              <a:t>Click to add title. </a:t>
            </a:r>
            <a:br>
              <a:rPr lang="en-GB" noProof="0" dirty="0"/>
            </a:br>
            <a:r>
              <a:rPr lang="nb-NO" noProof="0" dirty="0"/>
              <a:t>Maximum two lines.</a:t>
            </a:r>
            <a:endParaRPr lang="nb-NO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88A807E-4AA1-4FEA-AB62-F9D6365F357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0000" y="5853600"/>
            <a:ext cx="2473200" cy="277200"/>
          </a:xfrm>
        </p:spPr>
        <p:txBody>
          <a:bodyPr tIns="0" anchor="b" anchorCtr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noProof="0" dirty="0"/>
              <a:t>Click to add subtitle</a:t>
            </a:r>
            <a:endParaRPr lang="nb-NO" dirty="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B81790BE-18ED-4BEB-ABA8-7B9EF2BF31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29200" y="5853600"/>
            <a:ext cx="2473200" cy="277200"/>
          </a:xfrm>
        </p:spPr>
        <p:txBody>
          <a:bodyPr tIns="0" anchor="b" anchorCtr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lvl="0"/>
            <a:r>
              <a:rPr lang="nb-NO" dirty="0"/>
              <a:t>Click to add subtitle</a:t>
            </a:r>
            <a:endParaRPr lang="nb-NO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068249E7-8044-4532-BAEE-D4EAFF9C2A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994000" y="5853600"/>
            <a:ext cx="2473200" cy="277200"/>
          </a:xfrm>
        </p:spPr>
        <p:txBody>
          <a:bodyPr tIns="0" anchor="b" anchorCtr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lvl="0"/>
            <a:r>
              <a:rPr lang="nb-NO" dirty="0"/>
              <a:t>Click to add subtitle</a:t>
            </a:r>
            <a:endParaRPr lang="nb-NO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CE263DE1-C9D8-4050-956E-161E000C8C3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762400" y="5853600"/>
            <a:ext cx="2473200" cy="277200"/>
          </a:xfrm>
        </p:spPr>
        <p:txBody>
          <a:bodyPr tIns="0" anchor="b" anchorCtr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lvl="0"/>
            <a:r>
              <a:rPr lang="nb-NO" dirty="0"/>
              <a:t>Click to add subtitle</a:t>
            </a:r>
            <a:endParaRPr lang="nb-NO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7129B432-C063-99E1-19A4-9500676E346B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9999" y="363600"/>
            <a:ext cx="10183075" cy="2592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b="0">
                <a:solidFill>
                  <a:schemeClr val="tx2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nb-NO" dirty="0"/>
              <a:t>Click to add chapter</a:t>
            </a:r>
            <a:endParaRPr lang="nb-NO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9C67ECDC-3FA3-1938-FF1D-05C8A62C4A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0000" y="6188400"/>
            <a:ext cx="7664400" cy="316800"/>
          </a:xfrm>
        </p:spPr>
        <p:txBody>
          <a:bodyPr anchor="b" anchorCtr="0"/>
          <a:lstStyle>
            <a:lvl1pPr marL="0" indent="0">
              <a:buNone/>
              <a:defRPr lang="en-US" sz="7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nb-NO" dirty="0"/>
              <a:t>Click to edit source</a:t>
            </a:r>
            <a:endParaRPr lang="nb-NO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9DB4DC8-ADC4-A738-10D2-DBC4E7F04F3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6C9D38-D30E-E47B-DBEB-232CC27B77D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001667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34" userDrawn="1">
          <p15:clr>
            <a:srgbClr val="A4A3A4"/>
          </p15:clr>
        </p15:guide>
        <p15:guide id="2" pos="3775" userDrawn="1">
          <p15:clr>
            <a:srgbClr val="A4A3A4"/>
          </p15:clr>
        </p15:guide>
        <p15:guide id="3" pos="5519" userDrawn="1">
          <p15:clr>
            <a:srgbClr val="A4A3A4"/>
          </p15:clr>
        </p15:guide>
        <p15:guide id="4" pos="1842" userDrawn="1">
          <p15:clr>
            <a:srgbClr val="A4A3A4"/>
          </p15:clr>
        </p15:guide>
        <p15:guide id="5" pos="3595" userDrawn="1">
          <p15:clr>
            <a:srgbClr val="A4A3A4"/>
          </p15:clr>
        </p15:guide>
        <p15:guide id="6" pos="5337" userDrawn="1">
          <p15:clr>
            <a:srgbClr val="A4A3A4"/>
          </p15:clr>
        </p15:guide>
        <p15:guide id="7" orient="horz" pos="1229" userDrawn="1">
          <p15:clr>
            <a:srgbClr val="A4A3A4"/>
          </p15:clr>
        </p15:guide>
        <p15:guide id="8" orient="horz" pos="3476" userDrawn="1">
          <p15:clr>
            <a:srgbClr val="A4A3A4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and Picture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7E9B0-B207-48B2-8977-652E7095720B}" type="datetime3">
              <a:rPr lang="nb-NO" smtClean="0"/>
              <a:t>2024.02.14</a:t>
            </a:fld>
            <a:endParaRPr lang="nb-NO"/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644122F5-F053-4EAC-B8FD-558D5BABAAFC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0000" y="1951200"/>
            <a:ext cx="2473200" cy="1753200"/>
          </a:xfrm>
          <a:solidFill>
            <a:schemeClr val="bg1">
              <a:lumMod val="85000"/>
            </a:schemeClr>
          </a:solidFill>
        </p:spPr>
        <p:txBody>
          <a:bodyPr lIns="36000" tIns="36000" rIns="36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nb-NO"/>
              <a:t>Click on frame and insert picture via Templafy Images.</a:t>
            </a:r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FF1F1888-F9CA-4713-B050-7FD598F1599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229200" y="1951200"/>
            <a:ext cx="2473200" cy="1753200"/>
          </a:xfrm>
          <a:solidFill>
            <a:schemeClr val="bg1">
              <a:lumMod val="85000"/>
            </a:schemeClr>
          </a:solidFill>
        </p:spPr>
        <p:txBody>
          <a:bodyPr lIns="36000" tIns="36000" rIns="36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nb-NO"/>
              <a:t>Click on frame and insert picture via Templafy Images.</a:t>
            </a:r>
          </a:p>
        </p:txBody>
      </p:sp>
      <p:sp>
        <p:nvSpPr>
          <p:cNvPr id="22" name="Picture Placeholder 4">
            <a:extLst>
              <a:ext uri="{FF2B5EF4-FFF2-40B4-BE49-F238E27FC236}">
                <a16:creationId xmlns:a16="http://schemas.microsoft.com/office/drawing/2014/main" id="{61092C68-2BBC-4933-9B2C-5FB9604DE13C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994000" y="1951200"/>
            <a:ext cx="2473200" cy="1753200"/>
          </a:xfrm>
          <a:solidFill>
            <a:schemeClr val="bg1">
              <a:lumMod val="85000"/>
            </a:schemeClr>
          </a:solidFill>
        </p:spPr>
        <p:txBody>
          <a:bodyPr lIns="36000" tIns="36000" rIns="36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nb-NO"/>
              <a:t>Click on frame and insert picture via Templafy Images.</a:t>
            </a:r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E644832C-1CD4-43E7-BA1A-713D50C28B21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8762400" y="1951200"/>
            <a:ext cx="2473200" cy="1753200"/>
          </a:xfrm>
          <a:solidFill>
            <a:schemeClr val="bg1">
              <a:lumMod val="85000"/>
            </a:schemeClr>
          </a:solidFill>
        </p:spPr>
        <p:txBody>
          <a:bodyPr lIns="36000" tIns="36000" rIns="36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nb-NO"/>
              <a:t>Click on frame and insert picture via Templafy Images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0000" y="622800"/>
            <a:ext cx="10184400" cy="982800"/>
          </a:xfrm>
        </p:spPr>
        <p:txBody>
          <a:bodyPr/>
          <a:lstStyle/>
          <a:p>
            <a:r>
              <a:rPr lang="nb-NO" noProof="0" dirty="0"/>
              <a:t>Click to add title. </a:t>
            </a:r>
            <a:br>
              <a:rPr lang="en-GB" noProof="0" dirty="0"/>
            </a:br>
            <a:r>
              <a:rPr lang="nb-NO" noProof="0" dirty="0"/>
              <a:t>Maximum two lines.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0000" y="4067175"/>
            <a:ext cx="2473200" cy="177202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Enter &amp; TAB to view next text style                   SHIFT+TAB to view previous text style</a:t>
            </a:r>
            <a:endParaRPr lang="nb-NO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83276C0-1F78-45A2-939F-D5F7DA307B5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3229200" y="4067175"/>
            <a:ext cx="2473200" cy="1772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Enter &amp; TAB to view next text style                   SHIFT+TAB to view previous text style</a:t>
            </a:r>
            <a:endParaRPr lang="nb-NO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06739BFD-D1FF-4065-AB78-7106C371DFD1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5994000" y="4067175"/>
            <a:ext cx="2473200" cy="1772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Enter &amp; TAB to view next text style                   SHIFT+TAB to view previous text style</a:t>
            </a:r>
            <a:endParaRPr lang="nb-NO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36D65A9-48FC-4E8A-AD8A-5E7F97F1C06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762400" y="4067175"/>
            <a:ext cx="2473200" cy="1772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Enter &amp; TAB to view next text style                   SHIFT+TAB to view previous text style</a:t>
            </a:r>
            <a:endParaRPr lang="nb-NO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980CF69D-B694-84B0-2492-1C9ED558B0DA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9999" y="363600"/>
            <a:ext cx="10183075" cy="2592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b="0">
                <a:solidFill>
                  <a:schemeClr val="tx2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nb-NO" dirty="0"/>
              <a:t>Click to add chapter</a:t>
            </a:r>
            <a:endParaRPr lang="nb-NO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1E1631A8-715A-B64C-BF61-BCBAD50974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0000" y="6188400"/>
            <a:ext cx="7664400" cy="316800"/>
          </a:xfrm>
        </p:spPr>
        <p:txBody>
          <a:bodyPr anchor="b" anchorCtr="0"/>
          <a:lstStyle>
            <a:lvl1pPr marL="0" indent="0">
              <a:buNone/>
              <a:defRPr lang="en-US" sz="7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nb-NO" dirty="0"/>
              <a:t>Click to edit source</a:t>
            </a:r>
            <a:endParaRPr lang="nb-NO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754240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34" userDrawn="1">
          <p15:clr>
            <a:srgbClr val="A4A3A4"/>
          </p15:clr>
        </p15:guide>
        <p15:guide id="2" pos="3775" userDrawn="1">
          <p15:clr>
            <a:srgbClr val="A4A3A4"/>
          </p15:clr>
        </p15:guide>
        <p15:guide id="3" pos="5519" userDrawn="1">
          <p15:clr>
            <a:srgbClr val="A4A3A4"/>
          </p15:clr>
        </p15:guide>
        <p15:guide id="4" pos="1842" userDrawn="1">
          <p15:clr>
            <a:srgbClr val="A4A3A4"/>
          </p15:clr>
        </p15:guide>
        <p15:guide id="5" pos="3593" userDrawn="1">
          <p15:clr>
            <a:srgbClr val="A4A3A4"/>
          </p15:clr>
        </p15:guide>
        <p15:guide id="6" pos="5333" userDrawn="1">
          <p15:clr>
            <a:srgbClr val="A4A3A4"/>
          </p15:clr>
        </p15:guide>
        <p15:guide id="7" orient="horz" pos="2562" userDrawn="1">
          <p15:clr>
            <a:srgbClr val="A4A3A4"/>
          </p15:clr>
        </p15:guide>
        <p15:guide id="8" orient="horz" pos="1229" userDrawn="1">
          <p15:clr>
            <a:srgbClr val="A4A3A4"/>
          </p15:clr>
        </p15:guide>
        <p15:guide id="9" orient="horz" pos="2334" userDrawn="1">
          <p15:clr>
            <a:srgbClr val="A4A3A4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17E9B0-B207-48B2-8977-652E7095720B}" type="datetime3">
              <a:rPr lang="nb-NO" smtClean="0"/>
              <a:t>2024.02.14</a:t>
            </a:fld>
            <a:endParaRPr lang="nb-NO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BD7C9CD-2DBF-EB0A-174D-7AF1CADADB80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0000" y="1951200"/>
            <a:ext cx="2473200" cy="1753200"/>
          </a:xfrm>
          <a:solidFill>
            <a:schemeClr val="bg1">
              <a:lumMod val="85000"/>
            </a:schemeClr>
          </a:solidFill>
        </p:spPr>
        <p:txBody>
          <a:bodyPr lIns="36000" tIns="36000" rIns="36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nb-NO"/>
              <a:t>Click on frame and insert picture via Templafy Images.</a:t>
            </a:r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1D5D7F33-AB53-6BC7-A88A-BC2629549D95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229200" y="1951200"/>
            <a:ext cx="2473200" cy="1753200"/>
          </a:xfrm>
          <a:solidFill>
            <a:schemeClr val="bg1">
              <a:lumMod val="85000"/>
            </a:schemeClr>
          </a:solidFill>
        </p:spPr>
        <p:txBody>
          <a:bodyPr lIns="36000" tIns="36000" rIns="36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nb-NO"/>
              <a:t>Click on frame and insert picture via Templafy Images.</a:t>
            </a:r>
          </a:p>
        </p:txBody>
      </p:sp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65DA51E7-7EB8-46B3-F7FF-58AE1556AFAF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994000" y="1951200"/>
            <a:ext cx="2473200" cy="1753200"/>
          </a:xfrm>
          <a:solidFill>
            <a:schemeClr val="bg1">
              <a:lumMod val="85000"/>
            </a:schemeClr>
          </a:solidFill>
        </p:spPr>
        <p:txBody>
          <a:bodyPr lIns="36000" tIns="36000" rIns="36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nb-NO"/>
              <a:t>Click on frame and insert picture via Templafy Images.</a:t>
            </a:r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6AC1A15A-123A-A9AD-E51F-72A6B9B4E62E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8762400" y="1951200"/>
            <a:ext cx="2473200" cy="1753200"/>
          </a:xfrm>
          <a:solidFill>
            <a:schemeClr val="bg1">
              <a:lumMod val="85000"/>
            </a:schemeClr>
          </a:solidFill>
        </p:spPr>
        <p:txBody>
          <a:bodyPr lIns="36000" tIns="36000" rIns="36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nb-NO"/>
              <a:t>Click on frame and insert picture via Templafy Images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0000" y="622800"/>
            <a:ext cx="10184400" cy="982800"/>
          </a:xfrm>
        </p:spPr>
        <p:txBody>
          <a:bodyPr/>
          <a:lstStyle/>
          <a:p>
            <a:r>
              <a:rPr lang="nb-NO" noProof="0" dirty="0"/>
              <a:t>Click to add title. </a:t>
            </a:r>
            <a:br>
              <a:rPr lang="en-GB" noProof="0" dirty="0"/>
            </a:br>
            <a:r>
              <a:rPr lang="nb-NO" noProof="0" dirty="0"/>
              <a:t>Maximum two lines.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0000" y="4427999"/>
            <a:ext cx="2473200" cy="14108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Enter &amp; TAB to view next text style                   SHIFT+TAB to view previous text style</a:t>
            </a:r>
            <a:endParaRPr lang="nb-NO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88A807E-4AA1-4FEA-AB62-F9D6365F357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0000" y="4068000"/>
            <a:ext cx="2473200" cy="277200"/>
          </a:xfrm>
        </p:spPr>
        <p:txBody>
          <a:bodyPr tIns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noProof="0" dirty="0"/>
              <a:t>Click to add subtitle</a:t>
            </a:r>
            <a:endParaRPr lang="nb-NO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83276C0-1F78-45A2-939F-D5F7DA307B5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3229200" y="4427999"/>
            <a:ext cx="2473200" cy="14108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Enter &amp; TAB to view next text style                   SHIFT+TAB to view previous text style</a:t>
            </a:r>
            <a:endParaRPr lang="nb-NO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B81790BE-18ED-4BEB-ABA8-7B9EF2BF31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29200" y="4068000"/>
            <a:ext cx="2473200" cy="277200"/>
          </a:xfrm>
        </p:spPr>
        <p:txBody>
          <a:bodyPr tIns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lvl="0"/>
            <a:r>
              <a:rPr lang="nb-NO" dirty="0"/>
              <a:t>Click to add subtitle</a:t>
            </a:r>
            <a:endParaRPr lang="nb-NO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06739BFD-D1FF-4065-AB78-7106C371DFD1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5994000" y="4427999"/>
            <a:ext cx="2473200" cy="14108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Enter &amp; TAB to view next text style                   SHIFT+TAB to view previous text style</a:t>
            </a:r>
            <a:endParaRPr lang="nb-NO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068249E7-8044-4532-BAEE-D4EAFF9C2A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994000" y="4068000"/>
            <a:ext cx="2473200" cy="277200"/>
          </a:xfrm>
        </p:spPr>
        <p:txBody>
          <a:bodyPr tIns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lvl="0"/>
            <a:r>
              <a:rPr lang="nb-NO" dirty="0"/>
              <a:t>Click to add subtitle</a:t>
            </a:r>
            <a:endParaRPr lang="nb-NO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36D65A9-48FC-4E8A-AD8A-5E7F97F1C06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762400" y="4427999"/>
            <a:ext cx="2473200" cy="14108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text               Enter &amp; TAB to view next text style                   SHIFT+TAB to view previous text style</a:t>
            </a:r>
            <a:endParaRPr lang="nb-NO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CE263DE1-C9D8-4050-956E-161E000C8C3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762400" y="4068000"/>
            <a:ext cx="2473200" cy="277200"/>
          </a:xfrm>
        </p:spPr>
        <p:txBody>
          <a:bodyPr tIns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lvl="0"/>
            <a:r>
              <a:rPr lang="nb-NO" dirty="0"/>
              <a:t>Click to add subtitle</a:t>
            </a:r>
            <a:endParaRPr lang="nb-NO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980CF69D-B694-84B0-2492-1C9ED558B0DA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9999" y="363600"/>
            <a:ext cx="10183075" cy="2592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b="0">
                <a:solidFill>
                  <a:schemeClr val="tx2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nb-NO" dirty="0"/>
              <a:t>Click to add chapter</a:t>
            </a:r>
            <a:endParaRPr lang="nb-NO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1E1631A8-715A-B64C-BF61-BCBAD50974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0000" y="6188400"/>
            <a:ext cx="7664400" cy="316800"/>
          </a:xfrm>
        </p:spPr>
        <p:txBody>
          <a:bodyPr anchor="b" anchorCtr="0"/>
          <a:lstStyle>
            <a:lvl1pPr marL="0" indent="0">
              <a:buNone/>
              <a:defRPr lang="en-US" sz="7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nb-NO" dirty="0"/>
              <a:t>Click to edit source</a:t>
            </a:r>
            <a:endParaRPr lang="nb-NO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40789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34" userDrawn="1">
          <p15:clr>
            <a:srgbClr val="A4A3A4"/>
          </p15:clr>
        </p15:guide>
        <p15:guide id="2" pos="3775" userDrawn="1">
          <p15:clr>
            <a:srgbClr val="A4A3A4"/>
          </p15:clr>
        </p15:guide>
        <p15:guide id="3" pos="5519" userDrawn="1">
          <p15:clr>
            <a:srgbClr val="A4A3A4"/>
          </p15:clr>
        </p15:guide>
        <p15:guide id="4" pos="1842" userDrawn="1">
          <p15:clr>
            <a:srgbClr val="A4A3A4"/>
          </p15:clr>
        </p15:guide>
        <p15:guide id="5" pos="3593" userDrawn="1">
          <p15:clr>
            <a:srgbClr val="A4A3A4"/>
          </p15:clr>
        </p15:guide>
        <p15:guide id="6" pos="5333" userDrawn="1">
          <p15:clr>
            <a:srgbClr val="A4A3A4"/>
          </p15:clr>
        </p15:guide>
        <p15:guide id="7" orient="horz" pos="2562" userDrawn="1">
          <p15:clr>
            <a:srgbClr val="A4A3A4"/>
          </p15:clr>
        </p15:guide>
        <p15:guide id="8" orient="horz" pos="2788" userDrawn="1">
          <p15:clr>
            <a:srgbClr val="A4A3A4"/>
          </p15:clr>
        </p15:guide>
        <p15:guide id="9" orient="horz" pos="1229" userDrawn="1">
          <p15:clr>
            <a:srgbClr val="A4A3A4"/>
          </p15:clr>
        </p15:guide>
        <p15:guide id="10" orient="horz" pos="2333" userDrawn="1">
          <p15:clr>
            <a:srgbClr val="A4A3A4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Fig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e Placeholder 11" hidden="1">
            <a:extLst>
              <a:ext uri="{FF2B5EF4-FFF2-40B4-BE49-F238E27FC236}">
                <a16:creationId xmlns:a16="http://schemas.microsoft.com/office/drawing/2014/main" id="{1768BB60-88BE-60EE-B5E0-382AB5763269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422FD456-FCAF-42A7-83AC-576433D435DC}" type="datetime3">
              <a:rPr lang="nb-NO" smtClean="0"/>
              <a:t>2024.02.14</a:t>
            </a:fld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9263" y="936000"/>
            <a:ext cx="10792800" cy="49032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Chart or Table                                                                                                                                                                                     Enter &amp; TAB to view next text style                                                                                                                                             SHIFT+TAB to view previous text style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41A3A676-5951-1BF6-0329-6AD00F20ED05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9999" y="363600"/>
            <a:ext cx="10183075" cy="2592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b="0">
                <a:solidFill>
                  <a:schemeClr val="tx2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nb-NO" dirty="0"/>
              <a:t>Click to add chapter</a:t>
            </a:r>
            <a:endParaRPr lang="nb-NO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D392EF6A-6DC0-119E-B65B-23F93417CF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0000" y="6188400"/>
            <a:ext cx="7664400" cy="316800"/>
          </a:xfrm>
        </p:spPr>
        <p:txBody>
          <a:bodyPr anchor="b" anchorCtr="0"/>
          <a:lstStyle>
            <a:lvl1pPr marL="0" indent="0">
              <a:buNone/>
              <a:defRPr lang="en-US" sz="7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nb-NO" dirty="0"/>
              <a:t>Click to edit source</a:t>
            </a:r>
            <a:endParaRPr lang="nb-NO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F9C71199-B33C-BF76-D314-666592E6C2D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45753432-DE52-9F6B-FD18-AB0F54E780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534937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89" userDrawn="1">
          <p15:clr>
            <a:srgbClr val="A4A3A4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Figures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7128DD-9324-4594-ACCE-888C293D7B45}" type="datetime3">
              <a:rPr lang="nb-NO" smtClean="0"/>
              <a:t>2024.02.14</a:t>
            </a:fld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9999" y="936000"/>
            <a:ext cx="5169600" cy="49028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Chart or Table                                                                     Enter &amp; TAB to view next text style                                  SHIFT+TAB to view previous text style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83276C0-1F78-45A2-939F-D5F7DA307B5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073200" y="936000"/>
            <a:ext cx="5169600" cy="49028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Chart or Table                                                                     Enter &amp; TAB to view next text style                                  SHIFT+TAB to view previous text style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9DC41EEE-7CEE-CF0D-B6DE-81AECC016873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9999" y="363600"/>
            <a:ext cx="10183075" cy="2592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b="0">
                <a:solidFill>
                  <a:schemeClr val="tx2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nb-NO" dirty="0"/>
              <a:t>Click to add chapter</a:t>
            </a:r>
            <a:endParaRPr lang="nb-NO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3648D40C-514E-2032-FB46-B5A476C9C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0000" y="6188400"/>
            <a:ext cx="7664400" cy="316800"/>
          </a:xfrm>
        </p:spPr>
        <p:txBody>
          <a:bodyPr anchor="b" anchorCtr="0"/>
          <a:lstStyle>
            <a:lvl1pPr marL="0" indent="0">
              <a:buNone/>
              <a:defRPr lang="en-US" sz="7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nb-NO" dirty="0"/>
              <a:t>Click to edit source</a:t>
            </a:r>
            <a:endParaRPr lang="nb-NO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438434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25" userDrawn="1">
          <p15:clr>
            <a:srgbClr val="A4A3A4"/>
          </p15:clr>
        </p15:guide>
        <p15:guide id="2" pos="3539" userDrawn="1">
          <p15:clr>
            <a:srgbClr val="A4A3A4"/>
          </p15:clr>
        </p15:guide>
        <p15:guide id="3" orient="horz" pos="589" userDrawn="1">
          <p15:clr>
            <a:srgbClr val="A4A3A4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7128DD-9324-4594-ACCE-888C293D7B45}" type="datetime3">
              <a:rPr lang="nb-NO" smtClean="0"/>
              <a:t>2024.02.14</a:t>
            </a:fld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9999" y="1296000"/>
            <a:ext cx="5169600" cy="45428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Chart or Table                                                  Enter &amp; TAB to view next text style                                  SHIFT+TAB to view previous text style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88A807E-4AA1-4FEA-AB62-F9D6365F357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999" y="936000"/>
            <a:ext cx="5169600" cy="277200"/>
          </a:xfrm>
        </p:spPr>
        <p:txBody>
          <a:bodyPr tIns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noProof="0" dirty="0"/>
              <a:t>Click to add subtitle</a:t>
            </a:r>
            <a:endParaRPr lang="nb-NO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83276C0-1F78-45A2-939F-D5F7DA307B5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073200" y="1296000"/>
            <a:ext cx="5169600" cy="45428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Chart or Table                                                   Enter &amp; TAB to view next text style                                  SHIFT+TAB to view previous text style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B81790BE-18ED-4BEB-ABA8-7B9EF2BF31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73200" y="936000"/>
            <a:ext cx="5169600" cy="277200"/>
          </a:xfrm>
        </p:spPr>
        <p:txBody>
          <a:bodyPr tIns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lvl="0"/>
            <a:r>
              <a:rPr lang="nb-NO" dirty="0"/>
              <a:t>Click to add subtitle</a:t>
            </a:r>
            <a:endParaRPr lang="nb-NO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9DC41EEE-7CEE-CF0D-B6DE-81AECC016873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9999" y="363600"/>
            <a:ext cx="10183075" cy="2592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b="0">
                <a:solidFill>
                  <a:schemeClr val="tx2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nb-NO" dirty="0"/>
              <a:t>Click to add chapter</a:t>
            </a:r>
            <a:endParaRPr lang="nb-NO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3648D40C-514E-2032-FB46-B5A476C9C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0000" y="6188400"/>
            <a:ext cx="7664400" cy="316800"/>
          </a:xfrm>
        </p:spPr>
        <p:txBody>
          <a:bodyPr anchor="b" anchorCtr="0"/>
          <a:lstStyle>
            <a:lvl1pPr marL="0" indent="0">
              <a:buNone/>
              <a:defRPr lang="en-US" sz="7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nb-NO" dirty="0"/>
              <a:t>Click to edit source</a:t>
            </a:r>
            <a:endParaRPr lang="nb-NO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658724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25" userDrawn="1">
          <p15:clr>
            <a:srgbClr val="A4A3A4"/>
          </p15:clr>
        </p15:guide>
        <p15:guide id="2" pos="3539" userDrawn="1">
          <p15:clr>
            <a:srgbClr val="A4A3A4"/>
          </p15:clr>
        </p15:guide>
        <p15:guide id="3" orient="horz" pos="589" userDrawn="1">
          <p15:clr>
            <a:srgbClr val="A4A3A4"/>
          </p15:clr>
        </p15:guide>
        <p15:guide id="4" orient="horz" pos="816" userDrawn="1">
          <p15:clr>
            <a:srgbClr val="A4A3A4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Figures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4EA827-0B49-4926-B77C-E8F2676440B2}" type="datetime3">
              <a:rPr lang="nb-NO" smtClean="0"/>
              <a:t>2024.02.14</a:t>
            </a:fld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9999" y="935037"/>
            <a:ext cx="3463200" cy="49037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Chart or Table                Enter &amp; TAB to view next text style SHIFT+TAB to view previous text style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83276C0-1F78-45A2-939F-D5F7DA307B5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14800" y="935037"/>
            <a:ext cx="3463200" cy="49037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Chart or Table                Enter &amp; TAB to view next text style SHIFT+TAB to view previous text style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06739BFD-D1FF-4065-AB78-7106C371DFD1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7776000" y="935037"/>
            <a:ext cx="3463200" cy="49037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Chart or Table                Enter &amp; TAB to view next text style SHIFT+TAB to view previous text style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BA160133-2721-4E1C-9228-0960E2654ABA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9999" y="363600"/>
            <a:ext cx="10183075" cy="2592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b="0">
                <a:solidFill>
                  <a:schemeClr val="tx2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nb-NO" dirty="0"/>
              <a:t>Click to add chapter</a:t>
            </a:r>
            <a:endParaRPr lang="nb-NO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B2892892-4D6F-872D-965F-366EF39C35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0000" y="6188400"/>
            <a:ext cx="7664400" cy="316800"/>
          </a:xfrm>
        </p:spPr>
        <p:txBody>
          <a:bodyPr anchor="b" anchorCtr="0"/>
          <a:lstStyle>
            <a:lvl1pPr marL="0" indent="0">
              <a:buNone/>
              <a:defRPr lang="en-US" sz="7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nb-NO" dirty="0"/>
              <a:t>Click to edit source</a:t>
            </a:r>
            <a:endParaRPr lang="nb-NO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875737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89" userDrawn="1">
          <p15:clr>
            <a:srgbClr val="A4A3A4"/>
          </p15:clr>
        </p15:guide>
        <p15:guide id="2" pos="2592" userDrawn="1">
          <p15:clr>
            <a:srgbClr val="A4A3A4"/>
          </p15:clr>
        </p15:guide>
        <p15:guide id="3" pos="4898" userDrawn="1">
          <p15:clr>
            <a:srgbClr val="A4A3A4"/>
          </p15:clr>
        </p15:guide>
        <p15:guide id="4" pos="4775" userDrawn="1">
          <p15:clr>
            <a:srgbClr val="A4A3A4"/>
          </p15:clr>
        </p15:guide>
        <p15:guide id="5" pos="2465" userDrawn="1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Text and Pictur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>
            <a:extLst>
              <a:ext uri="{FF2B5EF4-FFF2-40B4-BE49-F238E27FC236}">
                <a16:creationId xmlns:a16="http://schemas.microsoft.com/office/drawing/2014/main" id="{333351AD-BFAB-52D8-96DB-CB8A1CE23214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0" tIns="270000" rIns="270000" bIns="270000" rtlCol="0" anchor="ctr"/>
          <a:lstStyle/>
          <a:p>
            <a:pPr algn="ctr"/>
            <a:endParaRPr lang="nb-NO" sz="1600" noProof="0">
              <a:solidFill>
                <a:schemeClr val="bg1"/>
              </a:solidFill>
            </a:endParaRPr>
          </a:p>
        </p:txBody>
      </p:sp>
      <p:sp>
        <p:nvSpPr>
          <p:cNvPr id="5" name="Footer Placeholder 8" hidden="1">
            <a:extLst>
              <a:ext uri="{FF2B5EF4-FFF2-40B4-BE49-F238E27FC236}">
                <a16:creationId xmlns:a16="http://schemas.microsoft.com/office/drawing/2014/main" id="{60BCA82B-5E88-E881-DEE9-DB21D7BC3B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Gjensidige Forsikring Group</a:t>
            </a:r>
          </a:p>
        </p:txBody>
      </p:sp>
      <p:sp>
        <p:nvSpPr>
          <p:cNvPr id="6" name="Slide Number Placeholder 10" hidden="1">
            <a:extLst>
              <a:ext uri="{FF2B5EF4-FFF2-40B4-BE49-F238E27FC236}">
                <a16:creationId xmlns:a16="http://schemas.microsoft.com/office/drawing/2014/main" id="{C982D731-DE7F-0049-C9A1-BB53B1F525B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A5B17903-8C4E-EDFA-8242-44C3608018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86285" y="251489"/>
            <a:ext cx="2052000" cy="50864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78374" y="1497626"/>
            <a:ext cx="5680800" cy="3728870"/>
          </a:xfrm>
        </p:spPr>
        <p:txBody>
          <a:bodyPr/>
          <a:lstStyle>
            <a:lvl1pPr marL="0" indent="648130">
              <a:lnSpc>
                <a:spcPct val="90000"/>
              </a:lnSpc>
              <a:defRPr sz="6001">
                <a:solidFill>
                  <a:schemeClr val="tx2"/>
                </a:solidFill>
              </a:defRPr>
            </a:lvl1pPr>
          </a:lstStyle>
          <a:p>
            <a:r>
              <a:rPr lang="nb-NO" dirty="0"/>
              <a:t>Click to add short title</a:t>
            </a:r>
            <a:endParaRPr lang="nb-NO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48E0C2B-3F30-DD6D-8136-CBB6E97DBAB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78374" y="5510822"/>
            <a:ext cx="5680800" cy="67725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1000"/>
              </a:lnSpc>
              <a:spcBef>
                <a:spcPts val="100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1400" b="0" i="0" u="none" cap="none">
                <a:solidFill>
                  <a:schemeClr val="dk2"/>
                </a:solidFill>
                <a:latin typeface="Gjensidige Type" pitchFamily="50" charset="0"/>
                <a:ea typeface="Arial" pitchFamily="34" charset="0"/>
              </a:defRPr>
            </a:lvl1pPr>
            <a:lvl2pPr marL="342969" indent="-176248" algn="l">
              <a:lnSpc>
                <a:spcPct val="101000"/>
              </a:lnSpc>
              <a:spcBef>
                <a:spcPts val="850"/>
              </a:spcBef>
              <a:spcAft>
                <a:spcPts val="0"/>
              </a:spcAft>
              <a:buClrTx/>
              <a:buFont typeface="Arial" panose="020B0604020202020204" pitchFamily="34" charset="0"/>
              <a:buChar char="○"/>
              <a:defRPr sz="1600" b="0" i="0" u="none" cap="none">
                <a:solidFill>
                  <a:srgbClr val="000000"/>
                </a:solidFill>
                <a:latin typeface="+mn-lt"/>
              </a:defRPr>
            </a:lvl2pPr>
            <a:lvl3pPr marL="500163" indent="-161957" algn="l">
              <a:lnSpc>
                <a:spcPct val="101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u="none" cap="none">
                <a:solidFill>
                  <a:srgbClr val="000000"/>
                </a:solidFill>
                <a:latin typeface="+mn-lt"/>
              </a:defRPr>
            </a:lvl3pPr>
            <a:lvl4pPr marL="652593" indent="-111941" algn="l">
              <a:lnSpc>
                <a:spcPct val="101000"/>
              </a:lnSpc>
              <a:spcBef>
                <a:spcPts val="900"/>
              </a:spcBef>
              <a:spcAft>
                <a:spcPts val="0"/>
              </a:spcAft>
              <a:buClrTx/>
              <a:buFont typeface="Arial" pitchFamily="34" charset="0"/>
              <a:buChar char="°"/>
              <a:defRPr sz="1600" b="0" i="0" u="none" cap="none">
                <a:solidFill>
                  <a:srgbClr val="000000"/>
                </a:solidFill>
                <a:latin typeface="+mn-lt"/>
              </a:defRPr>
            </a:lvl4pPr>
            <a:lvl5pPr marL="809787" indent="-138140" algn="l">
              <a:lnSpc>
                <a:spcPct val="101000"/>
              </a:lnSpc>
              <a:spcBef>
                <a:spcPts val="7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endParaRPr lang="nb-NO" dirty="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0E2F13E-C7DA-1217-0EAF-CDAE09B620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241332" y="251648"/>
            <a:ext cx="5656999" cy="6381695"/>
          </a:xfrm>
          <a:solidFill>
            <a:schemeClr val="bg1">
              <a:lumMod val="85000"/>
            </a:schemeClr>
          </a:solidFill>
        </p:spPr>
        <p:txBody>
          <a:bodyPr lIns="36000" tIns="36000" rIns="36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/>
            </a:lvl1pPr>
          </a:lstStyle>
          <a:p>
            <a:r>
              <a:rPr lang="nb-NO"/>
              <a:t>Click on frame and insert picture via Templafy Images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75E2DD-33EA-1580-B2C9-323FC6AE1A23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6278375" y="6447257"/>
            <a:ext cx="5681684" cy="221018"/>
          </a:xfrm>
        </p:spPr>
        <p:txBody>
          <a:bodyPr bIns="36000"/>
          <a:lstStyle>
            <a:lvl1pPr algn="r">
              <a:defRPr sz="1200">
                <a:solidFill>
                  <a:srgbClr val="090C33"/>
                </a:solidFill>
                <a:latin typeface="Gjensidige Type" pitchFamily="50" charset="0"/>
                <a:ea typeface="Arial" pitchFamily="34" charset="0"/>
              </a:defRPr>
            </a:lvl1pPr>
          </a:lstStyle>
          <a:p>
            <a:r>
              <a:rPr lang="nb-NO"/>
              <a:t>Date, Month Year</a:t>
            </a:r>
          </a:p>
        </p:txBody>
      </p:sp>
    </p:spTree>
    <p:extLst>
      <p:ext uri="{BB962C8B-B14F-4D97-AF65-F5344CB8AC3E}">
        <p14:creationId xmlns:p14="http://schemas.microsoft.com/office/powerpoint/2010/main" val="39683651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943" userDrawn="1">
          <p15:clr>
            <a:srgbClr val="A4A3A4"/>
          </p15:clr>
        </p15:guide>
        <p15:guide id="2" orient="horz" pos="3292" userDrawn="1">
          <p15:clr>
            <a:srgbClr val="A4A3A4"/>
          </p15:clr>
        </p15:guide>
        <p15:guide id="3" pos="3954" userDrawn="1">
          <p15:clr>
            <a:srgbClr val="A4A3A4"/>
          </p15:clr>
        </p15:guide>
        <p15:guide id="4" pos="7533" userDrawn="1">
          <p15:clr>
            <a:srgbClr val="A4A3A4"/>
          </p15:clr>
        </p15:guide>
        <p15:guide id="8" orient="horz" pos="3471" userDrawn="1">
          <p15:clr>
            <a:srgbClr val="A4A3A4"/>
          </p15:clr>
        </p15:guide>
        <p15:guide id="10" orient="horz" pos="158" userDrawn="1">
          <p15:clr>
            <a:srgbClr val="A4A3A4"/>
          </p15:clr>
        </p15:guide>
        <p15:guide id="11" pos="152" userDrawn="1">
          <p15:clr>
            <a:srgbClr val="A4A3A4"/>
          </p15:clr>
        </p15:guide>
        <p15:guide id="12" pos="3715" userDrawn="1">
          <p15:clr>
            <a:srgbClr val="A4A3A4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4EA827-0B49-4926-B77C-E8F2676440B2}" type="datetime3">
              <a:rPr lang="nb-NO" smtClean="0"/>
              <a:t>2024.02.14</a:t>
            </a:fld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9999" y="1295999"/>
            <a:ext cx="3463200" cy="45428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Chart or Table                Enter &amp; TAB to view next text style SHIFT+TAB to view previous text style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88A807E-4AA1-4FEA-AB62-F9D6365F357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999" y="936000"/>
            <a:ext cx="3463200" cy="277200"/>
          </a:xfrm>
        </p:spPr>
        <p:txBody>
          <a:bodyPr tIns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noProof="0" dirty="0"/>
              <a:t>Click to add subtitle</a:t>
            </a:r>
            <a:endParaRPr lang="nb-NO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83276C0-1F78-45A2-939F-D5F7DA307B5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14800" y="1295999"/>
            <a:ext cx="3463200" cy="45428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Chart or Table                Enter &amp; TAB to view next text style SHIFT+TAB to view previous text style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B81790BE-18ED-4BEB-ABA8-7B9EF2BF31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14800" y="936000"/>
            <a:ext cx="3463200" cy="277200"/>
          </a:xfrm>
        </p:spPr>
        <p:txBody>
          <a:bodyPr tIns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lvl="0"/>
            <a:r>
              <a:rPr lang="nb-NO" dirty="0"/>
              <a:t>Click to add subtitle</a:t>
            </a:r>
            <a:endParaRPr lang="nb-NO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06739BFD-D1FF-4065-AB78-7106C371DFD1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7776000" y="1295999"/>
            <a:ext cx="3463200" cy="45428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Chart or Table                Enter &amp; TAB to view next text style SHIFT+TAB to view previous text style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068249E7-8044-4532-BAEE-D4EAFF9C2A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76000" y="936000"/>
            <a:ext cx="3463200" cy="277200"/>
          </a:xfrm>
        </p:spPr>
        <p:txBody>
          <a:bodyPr tIns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lvl="0"/>
            <a:r>
              <a:rPr lang="nb-NO" dirty="0"/>
              <a:t>Click to add subtitle</a:t>
            </a:r>
            <a:endParaRPr lang="nb-NO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BA160133-2721-4E1C-9228-0960E2654ABA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9999" y="363600"/>
            <a:ext cx="10183075" cy="2592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b="0">
                <a:solidFill>
                  <a:schemeClr val="tx2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nb-NO" dirty="0"/>
              <a:t>Click to add chapter</a:t>
            </a:r>
            <a:endParaRPr lang="nb-NO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B2892892-4D6F-872D-965F-366EF39C35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0000" y="6188400"/>
            <a:ext cx="7664400" cy="316800"/>
          </a:xfrm>
        </p:spPr>
        <p:txBody>
          <a:bodyPr anchor="b" anchorCtr="0"/>
          <a:lstStyle>
            <a:lvl1pPr marL="0" indent="0">
              <a:buNone/>
              <a:defRPr lang="en-US" sz="7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nb-NO" dirty="0"/>
              <a:t>Click to edit source</a:t>
            </a:r>
            <a:endParaRPr lang="nb-NO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891310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89" userDrawn="1">
          <p15:clr>
            <a:srgbClr val="A4A3A4"/>
          </p15:clr>
        </p15:guide>
        <p15:guide id="2" pos="2592" userDrawn="1">
          <p15:clr>
            <a:srgbClr val="A4A3A4"/>
          </p15:clr>
        </p15:guide>
        <p15:guide id="3" pos="4898" userDrawn="1">
          <p15:clr>
            <a:srgbClr val="A4A3A4"/>
          </p15:clr>
        </p15:guide>
        <p15:guide id="4" pos="4775" userDrawn="1">
          <p15:clr>
            <a:srgbClr val="A4A3A4"/>
          </p15:clr>
        </p15:guide>
        <p15:guide id="5" pos="2465" userDrawn="1">
          <p15:clr>
            <a:srgbClr val="A4A3A4"/>
          </p15:clr>
        </p15:guide>
        <p15:guide id="6" orient="horz" pos="816" userDrawn="1">
          <p15:clr>
            <a:srgbClr val="A4A3A4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Figures A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F7BB58-7A94-41B4-A034-0113B6986B34}" type="datetime3">
              <a:rPr lang="nb-NO" smtClean="0"/>
              <a:t>2024.02.14</a:t>
            </a:fld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9999" y="935038"/>
            <a:ext cx="2422800" cy="49037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Chart or Table                           Enter &amp; TAB to view next text style SHIFT+TAB to view previous text style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83276C0-1F78-45A2-939F-D5F7DA307B5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3239999" y="935038"/>
            <a:ext cx="2422800" cy="49037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Chart or Table                           Enter &amp; TAB to view next text style SHIFT+TAB to view previous text style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06739BFD-D1FF-4065-AB78-7106C371DFD1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029999" y="935038"/>
            <a:ext cx="2422800" cy="49037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Chart or Table                           Enter &amp; TAB to view next text style SHIFT+TAB to view previous text style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36D65A9-48FC-4E8A-AD8A-5E7F97F1C06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820000" y="935038"/>
            <a:ext cx="2422800" cy="49037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Chart or Table                           Enter &amp; TAB to view next text style SHIFT+TAB to view previous text style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8CF1DC15-4F84-6EDE-51DE-FBB145E7B867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9999" y="363600"/>
            <a:ext cx="10183075" cy="2592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b="0">
                <a:solidFill>
                  <a:schemeClr val="tx2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nb-NO" dirty="0"/>
              <a:t>Click to add chapter</a:t>
            </a:r>
            <a:endParaRPr lang="nb-NO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09A2B877-505E-F797-41C0-C28F851E33F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0000" y="6188400"/>
            <a:ext cx="7664400" cy="316800"/>
          </a:xfrm>
        </p:spPr>
        <p:txBody>
          <a:bodyPr anchor="b" anchorCtr="0"/>
          <a:lstStyle>
            <a:lvl1pPr marL="0" indent="0">
              <a:buNone/>
              <a:defRPr lang="en-US" sz="7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nb-NO" dirty="0"/>
              <a:t>Click to edit source</a:t>
            </a:r>
            <a:endParaRPr lang="nb-NO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65600" y="6188400"/>
            <a:ext cx="277200" cy="309600"/>
          </a:xfrm>
        </p:spPr>
        <p:txBody>
          <a:bodyPr/>
          <a:lstStyle/>
          <a:p>
            <a:fld id="{23AA811B-2EBD-4900-905E-5BE20644961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831899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6" userDrawn="1">
          <p15:clr>
            <a:srgbClr val="A4A3A4"/>
          </p15:clr>
        </p15:guide>
        <p15:guide id="2" pos="2040" userDrawn="1">
          <p15:clr>
            <a:srgbClr val="A4A3A4"/>
          </p15:clr>
        </p15:guide>
        <p15:guide id="3" pos="5555" userDrawn="1">
          <p15:clr>
            <a:srgbClr val="A4A3A4"/>
          </p15:clr>
        </p15:guide>
        <p15:guide id="4" pos="1812" userDrawn="1">
          <p15:clr>
            <a:srgbClr val="A4A3A4"/>
          </p15:clr>
        </p15:guide>
        <p15:guide id="5" pos="3567" userDrawn="1">
          <p15:clr>
            <a:srgbClr val="A4A3A4"/>
          </p15:clr>
        </p15:guide>
        <p15:guide id="6" pos="5324" userDrawn="1">
          <p15:clr>
            <a:srgbClr val="A4A3A4"/>
          </p15:clr>
        </p15:guide>
        <p15:guide id="8" orient="horz" pos="589" userDrawn="1">
          <p15:clr>
            <a:srgbClr val="A4A3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Figure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F7BB58-7A94-41B4-A034-0113B6986B34}" type="datetime3">
              <a:rPr lang="nb-NO" smtClean="0"/>
              <a:t>2024.02.14</a:t>
            </a:fld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9999" y="1296000"/>
            <a:ext cx="2422800" cy="45428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Chart or Table                           Enter &amp; TAB to view next text style SHIFT+TAB to view previous text style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88A807E-4AA1-4FEA-AB62-F9D6365F357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999" y="936000"/>
            <a:ext cx="2422800" cy="277200"/>
          </a:xfrm>
        </p:spPr>
        <p:txBody>
          <a:bodyPr tIns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noProof="0" dirty="0"/>
              <a:t>Click to add subtitle</a:t>
            </a:r>
            <a:endParaRPr lang="nb-NO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83276C0-1F78-45A2-939F-D5F7DA307B5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3239999" y="1296000"/>
            <a:ext cx="2422800" cy="45428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Chart or Table                           Enter &amp; TAB to view next text style SHIFT+TAB to view previous text style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B81790BE-18ED-4BEB-ABA8-7B9EF2BF31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39999" y="936000"/>
            <a:ext cx="2422800" cy="277200"/>
          </a:xfrm>
        </p:spPr>
        <p:txBody>
          <a:bodyPr tIns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lvl="0"/>
            <a:r>
              <a:rPr lang="nb-NO" dirty="0"/>
              <a:t>Click to add subtitle</a:t>
            </a:r>
            <a:endParaRPr lang="nb-NO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06739BFD-D1FF-4065-AB78-7106C371DFD1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029999" y="1296000"/>
            <a:ext cx="2422800" cy="45428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Chart or Table                           Enter &amp; TAB to view next text style SHIFT+TAB to view previous text style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068249E7-8044-4532-BAEE-D4EAFF9C2A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29999" y="936000"/>
            <a:ext cx="2422800" cy="277200"/>
          </a:xfrm>
        </p:spPr>
        <p:txBody>
          <a:bodyPr tIns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lvl="0"/>
            <a:r>
              <a:rPr lang="nb-NO" dirty="0"/>
              <a:t>Click to add subtitle</a:t>
            </a:r>
            <a:endParaRPr lang="nb-NO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36D65A9-48FC-4E8A-AD8A-5E7F97F1C06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820000" y="1296000"/>
            <a:ext cx="2422800" cy="45428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Chart or Table                           Enter &amp; TAB to view next text style SHIFT+TAB to view previous text style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CE263DE1-C9D8-4050-956E-161E000C8C3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20000" y="936000"/>
            <a:ext cx="2422800" cy="277200"/>
          </a:xfrm>
        </p:spPr>
        <p:txBody>
          <a:bodyPr tIns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lvl="0"/>
            <a:r>
              <a:rPr lang="nb-NO" dirty="0"/>
              <a:t>Click to add subtitle</a:t>
            </a:r>
            <a:endParaRPr lang="nb-NO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8CF1DC15-4F84-6EDE-51DE-FBB145E7B867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9999" y="363600"/>
            <a:ext cx="10183075" cy="2592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b="0">
                <a:solidFill>
                  <a:schemeClr val="tx2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nb-NO" dirty="0"/>
              <a:t>Click to add chapter</a:t>
            </a:r>
            <a:endParaRPr lang="nb-NO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09A2B877-505E-F797-41C0-C28F851E33F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0000" y="6188400"/>
            <a:ext cx="7664400" cy="316800"/>
          </a:xfrm>
        </p:spPr>
        <p:txBody>
          <a:bodyPr anchor="b" anchorCtr="0"/>
          <a:lstStyle>
            <a:lvl1pPr marL="0" indent="0">
              <a:buNone/>
              <a:defRPr lang="en-US" sz="7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nb-NO" dirty="0"/>
              <a:t>Click to edit source</a:t>
            </a:r>
            <a:endParaRPr lang="nb-NO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65600" y="6188400"/>
            <a:ext cx="277200" cy="309600"/>
          </a:xfrm>
        </p:spPr>
        <p:txBody>
          <a:bodyPr/>
          <a:lstStyle/>
          <a:p>
            <a:fld id="{23AA811B-2EBD-4900-905E-5BE20644961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978398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6" userDrawn="1">
          <p15:clr>
            <a:srgbClr val="A4A3A4"/>
          </p15:clr>
        </p15:guide>
        <p15:guide id="2" pos="2040" userDrawn="1">
          <p15:clr>
            <a:srgbClr val="A4A3A4"/>
          </p15:clr>
        </p15:guide>
        <p15:guide id="3" pos="5555" userDrawn="1">
          <p15:clr>
            <a:srgbClr val="A4A3A4"/>
          </p15:clr>
        </p15:guide>
        <p15:guide id="4" pos="1812" userDrawn="1">
          <p15:clr>
            <a:srgbClr val="A4A3A4"/>
          </p15:clr>
        </p15:guide>
        <p15:guide id="5" pos="3567" userDrawn="1">
          <p15:clr>
            <a:srgbClr val="A4A3A4"/>
          </p15:clr>
        </p15:guide>
        <p15:guide id="6" pos="5324" userDrawn="1">
          <p15:clr>
            <a:srgbClr val="A4A3A4"/>
          </p15:clr>
        </p15:guide>
        <p15:guide id="7" orient="horz" pos="816" userDrawn="1">
          <p15:clr>
            <a:srgbClr val="A4A3A4"/>
          </p15:clr>
        </p15:guide>
        <p15:guide id="8" orient="horz" pos="589" userDrawn="1">
          <p15:clr>
            <a:srgbClr val="A4A3A4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Figures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9999" y="936000"/>
            <a:ext cx="2422800" cy="43812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Chart or Table                           Enter &amp; TAB to view next text style SHIFT+TAB to view previous text style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88A807E-4AA1-4FEA-AB62-F9D6365F357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999" y="5562832"/>
            <a:ext cx="2422800" cy="277200"/>
          </a:xfrm>
        </p:spPr>
        <p:txBody>
          <a:bodyPr tIns="0" anchor="b" anchorCtr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noProof="0" dirty="0"/>
              <a:t>Click to add subtitle</a:t>
            </a:r>
            <a:endParaRPr lang="nb-NO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83276C0-1F78-45A2-939F-D5F7DA307B5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3240000" y="936000"/>
            <a:ext cx="2422800" cy="43812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Chart or Table                           Enter &amp; TAB to view next text style SHIFT+TAB to view previous text style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B81790BE-18ED-4BEB-ABA8-7B9EF2BF31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40000" y="5562832"/>
            <a:ext cx="2422800" cy="277200"/>
          </a:xfrm>
        </p:spPr>
        <p:txBody>
          <a:bodyPr tIns="0" anchor="b" anchorCtr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lvl="0"/>
            <a:r>
              <a:rPr lang="nb-NO" dirty="0"/>
              <a:t>Click to add subtitle</a:t>
            </a:r>
            <a:endParaRPr lang="nb-NO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06739BFD-D1FF-4065-AB78-7106C371DFD1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030000" y="936000"/>
            <a:ext cx="2422800" cy="43812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Chart or Table                           Enter &amp; TAB to view next text style SHIFT+TAB to view previous text style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068249E7-8044-4532-BAEE-D4EAFF9C2A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30000" y="5562832"/>
            <a:ext cx="2422800" cy="277200"/>
          </a:xfrm>
        </p:spPr>
        <p:txBody>
          <a:bodyPr tIns="0" anchor="b" anchorCtr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lvl="0"/>
            <a:r>
              <a:rPr lang="nb-NO" dirty="0"/>
              <a:t>Click to add subtitle</a:t>
            </a:r>
            <a:endParaRPr lang="nb-NO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36D65A9-48FC-4E8A-AD8A-5E7F97F1C06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820000" y="936000"/>
            <a:ext cx="2422800" cy="43812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Chart or Table                           Enter &amp; TAB to view next text style SHIFT+TAB to view previous text style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CE263DE1-C9D8-4050-956E-161E000C8C3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820000" y="5562832"/>
            <a:ext cx="2422800" cy="277200"/>
          </a:xfrm>
        </p:spPr>
        <p:txBody>
          <a:bodyPr tIns="0" anchor="b" anchorCtr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lvl="0"/>
            <a:r>
              <a:rPr lang="nb-NO" dirty="0"/>
              <a:t>Click to add subtitle</a:t>
            </a:r>
            <a:endParaRPr lang="nb-NO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nb-NO" smtClean="0"/>
              <a:t>‹#›</a:t>
            </a:fld>
            <a:endParaRPr lang="nb-NO"/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0A8E6E-DE28-4A36-B9A2-0A01C0274DAB}" type="datetime3">
              <a:rPr lang="nb-NO" smtClean="0"/>
              <a:t>2024.02.14</a:t>
            </a:fld>
            <a:endParaRPr lang="nb-NO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86E2210D-4C6E-3B61-09B4-2C5BE46A948E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9999" y="363600"/>
            <a:ext cx="10183075" cy="2592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b="0">
                <a:solidFill>
                  <a:schemeClr val="tx2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nb-NO" dirty="0"/>
              <a:t>Click to add chapter</a:t>
            </a:r>
            <a:endParaRPr lang="nb-NO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BEC15C49-7E14-23AE-B83B-BC77AFBCC5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0000" y="6188400"/>
            <a:ext cx="7664400" cy="316800"/>
          </a:xfrm>
        </p:spPr>
        <p:txBody>
          <a:bodyPr anchor="b" anchorCtr="0"/>
          <a:lstStyle>
            <a:lvl1pPr marL="0" indent="0">
              <a:buNone/>
              <a:defRPr lang="en-US" sz="7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nb-NO" dirty="0"/>
              <a:t>Click to edit sourc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55740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040" userDrawn="1">
          <p15:clr>
            <a:srgbClr val="A4A3A4"/>
          </p15:clr>
        </p15:guide>
        <p15:guide id="3" pos="3798" userDrawn="1">
          <p15:clr>
            <a:srgbClr val="A4A3A4"/>
          </p15:clr>
        </p15:guide>
        <p15:guide id="4" pos="5555" userDrawn="1">
          <p15:clr>
            <a:srgbClr val="A4A3A4"/>
          </p15:clr>
        </p15:guide>
        <p15:guide id="5" pos="1813" userDrawn="1">
          <p15:clr>
            <a:srgbClr val="A4A3A4"/>
          </p15:clr>
        </p15:guide>
        <p15:guide id="6" pos="3570" userDrawn="1">
          <p15:clr>
            <a:srgbClr val="A4A3A4"/>
          </p15:clr>
        </p15:guide>
        <p15:guide id="7" pos="5330" userDrawn="1">
          <p15:clr>
            <a:srgbClr val="A4A3A4"/>
          </p15:clr>
        </p15:guide>
        <p15:guide id="8" orient="horz" pos="589" userDrawn="1">
          <p15:clr>
            <a:srgbClr val="A4A3A4"/>
          </p15:clr>
        </p15:guide>
        <p15:guide id="9" orient="horz" pos="3503" userDrawn="1">
          <p15:clr>
            <a:srgbClr val="A4A3A4"/>
          </p15:clr>
        </p15:guide>
        <p15:guide id="10" orient="horz" pos="3351" userDrawn="1">
          <p15:clr>
            <a:srgbClr val="A4A3A4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Figures C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9999" y="935038"/>
            <a:ext cx="2422800" cy="2340962"/>
          </a:xfrm>
        </p:spPr>
        <p:txBody>
          <a:bodyPr/>
          <a:lstStyle>
            <a:lvl1pPr>
              <a:defRPr/>
            </a:lvl1pPr>
            <a:lvl2pPr marL="180000" indent="0">
              <a:buNone/>
              <a:defRPr/>
            </a:lvl2pPr>
          </a:lstStyle>
          <a:p>
            <a:pPr lvl="0"/>
            <a:r>
              <a:rPr lang="nb-NO" noProof="0" dirty="0"/>
              <a:t>Click to add Chart or Table                           Enter &amp; TAB to view next text style SHIFT+TAB to view previous text style</a:t>
            </a:r>
            <a:endParaRPr lang="nb-NO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88A807E-4AA1-4FEA-AB62-F9D6365F357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89301" y="7161702"/>
            <a:ext cx="2422800" cy="277200"/>
          </a:xfrm>
        </p:spPr>
        <p:txBody>
          <a:bodyPr tIns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noProof="0" dirty="0"/>
              <a:t>Click to add subtitle</a:t>
            </a:r>
            <a:endParaRPr lang="nb-NO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83276C0-1F78-45A2-939F-D5F7DA307B5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3240000" y="935038"/>
            <a:ext cx="2422800" cy="23409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Chart or Table                           Enter &amp; TAB to view next text style SHIFT+TAB to view previous text style</a:t>
            </a:r>
            <a:endParaRPr lang="nb-NO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B81790BE-18ED-4BEB-ABA8-7B9EF2BF31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89301" y="7161702"/>
            <a:ext cx="2422800" cy="277200"/>
          </a:xfrm>
        </p:spPr>
        <p:txBody>
          <a:bodyPr tIns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lvl="0"/>
            <a:r>
              <a:rPr lang="nb-NO" dirty="0"/>
              <a:t>Click to add subtitle</a:t>
            </a:r>
            <a:endParaRPr lang="nb-NO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06739BFD-D1FF-4065-AB78-7106C371DFD1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49999" y="3492494"/>
            <a:ext cx="2422800" cy="23409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Chart or Table                           Enter &amp; TAB to view next text style SHIFT+TAB to view previous text style</a:t>
            </a:r>
            <a:endParaRPr lang="nb-NO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068249E7-8044-4532-BAEE-D4EAFF9C2A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89301" y="7161702"/>
            <a:ext cx="2422800" cy="277200"/>
          </a:xfrm>
        </p:spPr>
        <p:txBody>
          <a:bodyPr tIns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lvl="0"/>
            <a:r>
              <a:rPr lang="nb-NO" dirty="0"/>
              <a:t>Click to add subtitle</a:t>
            </a:r>
            <a:endParaRPr lang="nb-NO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36D65A9-48FC-4E8A-AD8A-5E7F97F1C06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240000" y="3492494"/>
            <a:ext cx="2422800" cy="23409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Chart or Table                           Enter &amp; TAB to view next text style SHIFT+TAB to view previous text style</a:t>
            </a:r>
            <a:endParaRPr lang="nb-NO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CE263DE1-C9D8-4050-956E-161E000C8C3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189301" y="7161702"/>
            <a:ext cx="2422800" cy="277200"/>
          </a:xfrm>
        </p:spPr>
        <p:txBody>
          <a:bodyPr tIns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lvl="0"/>
            <a:r>
              <a:rPr lang="nb-NO" dirty="0"/>
              <a:t>Click to add subtitle</a:t>
            </a:r>
            <a:endParaRPr lang="nb-NO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65600" y="6188400"/>
            <a:ext cx="277200" cy="309600"/>
          </a:xfrm>
        </p:spPr>
        <p:txBody>
          <a:bodyPr/>
          <a:lstStyle/>
          <a:p>
            <a:fld id="{23AA811B-2EBD-4900-905E-5BE206449611}" type="slidenum">
              <a:rPr lang="nb-NO" smtClean="0"/>
              <a:t>‹#›</a:t>
            </a:fld>
            <a:endParaRPr lang="nb-NO"/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B87D41-9CA1-4346-9C6E-4E46B8F20BE9}" type="datetime3">
              <a:rPr lang="nb-NO" smtClean="0"/>
              <a:t>2024.02.14</a:t>
            </a:fld>
            <a:endParaRPr lang="nb-NO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2F0BA4FF-56EE-2D4D-4126-151F00721C4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9999" y="363600"/>
            <a:ext cx="10183075" cy="2592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b="0">
                <a:solidFill>
                  <a:schemeClr val="tx2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nb-NO" dirty="0"/>
              <a:t>Click to add chapter</a:t>
            </a:r>
            <a:endParaRPr lang="nb-NO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AA1993FB-7CB8-208D-6050-981D82E389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0000" y="6188400"/>
            <a:ext cx="7664400" cy="316800"/>
          </a:xfrm>
        </p:spPr>
        <p:txBody>
          <a:bodyPr anchor="b" anchorCtr="0"/>
          <a:lstStyle>
            <a:lvl1pPr marL="0" indent="0">
              <a:buNone/>
              <a:defRPr lang="en-US" sz="7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nb-NO" dirty="0"/>
              <a:t>Click to edit source</a:t>
            </a:r>
            <a:endParaRPr lang="nb-NO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802A73E-F407-8B3D-57C4-D9EC1AE15B95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6030000" y="935038"/>
            <a:ext cx="2422800" cy="23409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Chart or Table                           Enter &amp; TAB to view next text style SHIFT+TAB to view previous text style</a:t>
            </a:r>
            <a:endParaRPr lang="nb-NO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C86A84FF-D780-D014-8477-B20E8799B9D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189301" y="7161702"/>
            <a:ext cx="2422800" cy="277200"/>
          </a:xfrm>
        </p:spPr>
        <p:txBody>
          <a:bodyPr tIns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noProof="0" dirty="0"/>
              <a:t>Click to add subtitle</a:t>
            </a:r>
            <a:endParaRPr lang="nb-NO" dirty="0"/>
          </a:p>
          <a:p>
            <a:pPr lvl="0"/>
            <a:endParaRPr lang="nb-NO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F9049C4-E3DE-2450-CDA9-AE524C987D6A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8820000" y="935038"/>
            <a:ext cx="2422800" cy="23409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Chart or Table                           Enter &amp; TAB to view next text style SHIFT+TAB to view previous text style</a:t>
            </a:r>
            <a:endParaRPr lang="nb-NO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ADEC32D4-D747-5C8D-BE45-C11D028BAFC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189301" y="7161702"/>
            <a:ext cx="2422800" cy="277200"/>
          </a:xfrm>
        </p:spPr>
        <p:txBody>
          <a:bodyPr tIns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lvl="0"/>
            <a:r>
              <a:rPr lang="nb-NO" dirty="0"/>
              <a:t>Click to add subtitle</a:t>
            </a:r>
            <a:endParaRPr lang="nb-NO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31AB733D-60B1-9961-BD6C-C41304FB9EEB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6030000" y="3492494"/>
            <a:ext cx="2422800" cy="23409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Chart or Table                           Enter &amp; TAB to view next text style SHIFT+TAB to view previous text style</a:t>
            </a:r>
            <a:endParaRPr lang="nb-NO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B08FF9C7-5762-93BD-F407-231D0B095C8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89301" y="7161702"/>
            <a:ext cx="2422800" cy="277200"/>
          </a:xfrm>
        </p:spPr>
        <p:txBody>
          <a:bodyPr tIns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lvl="0"/>
            <a:r>
              <a:rPr lang="nb-NO" dirty="0"/>
              <a:t>Click to add subtitle</a:t>
            </a:r>
            <a:endParaRPr lang="nb-NO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10DC0AFA-ED3F-CBAC-D500-76C1E30DA39C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8820000" y="3492494"/>
            <a:ext cx="2422800" cy="23409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Chart or Table                           Enter &amp; TAB to view next text style SHIFT+TAB to view previous text style</a:t>
            </a:r>
            <a:endParaRPr lang="nb-NO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1F979DDF-0596-697C-FCD6-67D2ED69290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89301" y="7161702"/>
            <a:ext cx="2422800" cy="277200"/>
          </a:xfrm>
        </p:spPr>
        <p:txBody>
          <a:bodyPr tIns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lvl="0"/>
            <a:r>
              <a:rPr lang="nb-NO" dirty="0"/>
              <a:t>Click to add subtit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141265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55" userDrawn="1">
          <p15:clr>
            <a:srgbClr val="A4A3A4"/>
          </p15:clr>
        </p15:guide>
        <p15:guide id="2" pos="2040" userDrawn="1">
          <p15:clr>
            <a:srgbClr val="A4A3A4"/>
          </p15:clr>
        </p15:guide>
        <p15:guide id="3" pos="3798" userDrawn="1">
          <p15:clr>
            <a:srgbClr val="A4A3A4"/>
          </p15:clr>
        </p15:guide>
        <p15:guide id="5" orient="horz" pos="2199" userDrawn="1">
          <p15:clr>
            <a:srgbClr val="A4A3A4"/>
          </p15:clr>
        </p15:guide>
        <p15:guide id="7" orient="horz" pos="589" userDrawn="1">
          <p15:clr>
            <a:srgbClr val="A4A3A4"/>
          </p15:clr>
        </p15:guide>
        <p15:guide id="9" orient="horz" pos="2065" userDrawn="1">
          <p15:clr>
            <a:srgbClr val="A4A3A4"/>
          </p15:clr>
        </p15:guide>
        <p15:guide id="10" pos="1812" userDrawn="1">
          <p15:clr>
            <a:srgbClr val="A4A3A4"/>
          </p15:clr>
        </p15:guide>
        <p15:guide id="11" pos="3568" userDrawn="1">
          <p15:clr>
            <a:srgbClr val="A4A3A4"/>
          </p15:clr>
        </p15:guide>
        <p15:guide id="12" pos="5328" userDrawn="1">
          <p15:clr>
            <a:srgbClr val="A4A3A4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Figures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9999" y="1296000"/>
            <a:ext cx="2422800" cy="1980000"/>
          </a:xfrm>
        </p:spPr>
        <p:txBody>
          <a:bodyPr/>
          <a:lstStyle>
            <a:lvl1pPr>
              <a:defRPr/>
            </a:lvl1pPr>
            <a:lvl2pPr marL="180000" indent="0">
              <a:buNone/>
              <a:defRPr/>
            </a:lvl2pPr>
          </a:lstStyle>
          <a:p>
            <a:pPr lvl="0"/>
            <a:r>
              <a:rPr lang="nb-NO" noProof="0" dirty="0"/>
              <a:t>Click to add Chart or Table                           Enter &amp; TAB to view next text style SHIFT+TAB to view previous text style</a:t>
            </a:r>
            <a:endParaRPr lang="nb-NO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88A807E-4AA1-4FEA-AB62-F9D6365F357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999" y="936000"/>
            <a:ext cx="2422800" cy="277200"/>
          </a:xfrm>
        </p:spPr>
        <p:txBody>
          <a:bodyPr tIns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noProof="0" dirty="0"/>
              <a:t>Click to add subtitle</a:t>
            </a:r>
            <a:endParaRPr lang="nb-NO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83276C0-1F78-45A2-939F-D5F7DA307B5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3240000" y="1296000"/>
            <a:ext cx="2422800" cy="198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Chart or Table                           Enter &amp; TAB to view next text style SHIFT+TAB to view previous text style</a:t>
            </a:r>
            <a:endParaRPr lang="nb-NO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B81790BE-18ED-4BEB-ABA8-7B9EF2BF31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40000" y="936000"/>
            <a:ext cx="2422800" cy="277200"/>
          </a:xfrm>
        </p:spPr>
        <p:txBody>
          <a:bodyPr tIns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lvl="0"/>
            <a:r>
              <a:rPr lang="nb-NO" dirty="0"/>
              <a:t>Click to add subtitle</a:t>
            </a:r>
            <a:endParaRPr lang="nb-NO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06739BFD-D1FF-4065-AB78-7106C371DFD1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49999" y="3853456"/>
            <a:ext cx="2422800" cy="198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Chart or Table                           Enter &amp; TAB to view next text style SHIFT+TAB to view previous text style</a:t>
            </a:r>
            <a:endParaRPr lang="nb-NO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068249E7-8044-4532-BAEE-D4EAFF9C2A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9999" y="3493456"/>
            <a:ext cx="2422800" cy="277200"/>
          </a:xfrm>
        </p:spPr>
        <p:txBody>
          <a:bodyPr tIns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lvl="0"/>
            <a:r>
              <a:rPr lang="nb-NO" dirty="0"/>
              <a:t>Click to add subtitle</a:t>
            </a:r>
            <a:endParaRPr lang="nb-NO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36D65A9-48FC-4E8A-AD8A-5E7F97F1C06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240000" y="3853456"/>
            <a:ext cx="2422800" cy="198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Chart or Table                           Enter &amp; TAB to view next text style SHIFT+TAB to view previous text style</a:t>
            </a:r>
            <a:endParaRPr lang="nb-NO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CE263DE1-C9D8-4050-956E-161E000C8C3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240000" y="3493456"/>
            <a:ext cx="2422800" cy="277200"/>
          </a:xfrm>
        </p:spPr>
        <p:txBody>
          <a:bodyPr tIns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lvl="0"/>
            <a:r>
              <a:rPr lang="nb-NO" dirty="0"/>
              <a:t>Click to add subtitle</a:t>
            </a:r>
            <a:endParaRPr lang="nb-NO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65600" y="6188400"/>
            <a:ext cx="277200" cy="309600"/>
          </a:xfrm>
        </p:spPr>
        <p:txBody>
          <a:bodyPr/>
          <a:lstStyle/>
          <a:p>
            <a:fld id="{23AA811B-2EBD-4900-905E-5BE206449611}" type="slidenum">
              <a:rPr lang="nb-NO" smtClean="0"/>
              <a:t>‹#›</a:t>
            </a:fld>
            <a:endParaRPr lang="nb-NO"/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B87D41-9CA1-4346-9C6E-4E46B8F20BE9}" type="datetime3">
              <a:rPr lang="nb-NO" smtClean="0"/>
              <a:t>2024.02.14</a:t>
            </a:fld>
            <a:endParaRPr lang="nb-NO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2F0BA4FF-56EE-2D4D-4126-151F00721C4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9999" y="363600"/>
            <a:ext cx="10183075" cy="2592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b="0">
                <a:solidFill>
                  <a:schemeClr val="tx2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nb-NO" dirty="0"/>
              <a:t>Click to add chapter</a:t>
            </a:r>
            <a:endParaRPr lang="nb-NO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AA1993FB-7CB8-208D-6050-981D82E389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0000" y="6188400"/>
            <a:ext cx="7664400" cy="316800"/>
          </a:xfrm>
        </p:spPr>
        <p:txBody>
          <a:bodyPr anchor="b" anchorCtr="0"/>
          <a:lstStyle>
            <a:lvl1pPr marL="0" indent="0">
              <a:buNone/>
              <a:defRPr lang="en-US" sz="7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nb-NO" dirty="0"/>
              <a:t>Click to edit source</a:t>
            </a:r>
            <a:endParaRPr lang="nb-NO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802A73E-F407-8B3D-57C4-D9EC1AE15B95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6030000" y="1296000"/>
            <a:ext cx="2422800" cy="198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Chart or Table                           Enter &amp; TAB to view next text style SHIFT+TAB to view previous text style</a:t>
            </a:r>
            <a:endParaRPr lang="nb-NO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C86A84FF-D780-D014-8477-B20E8799B9D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030000" y="936000"/>
            <a:ext cx="2422800" cy="277200"/>
          </a:xfrm>
        </p:spPr>
        <p:txBody>
          <a:bodyPr tIns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noProof="0" dirty="0"/>
              <a:t>Click to add subtitle</a:t>
            </a:r>
            <a:endParaRPr lang="nb-NO" dirty="0"/>
          </a:p>
          <a:p>
            <a:pPr lvl="0"/>
            <a:endParaRPr lang="nb-NO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F9049C4-E3DE-2450-CDA9-AE524C987D6A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8820000" y="1296000"/>
            <a:ext cx="2422800" cy="198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Chart or Table                           Enter &amp; TAB to view next text style SHIFT+TAB to view previous text style</a:t>
            </a:r>
            <a:endParaRPr lang="nb-NO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ADEC32D4-D747-5C8D-BE45-C11D028BAFC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820000" y="936000"/>
            <a:ext cx="2422800" cy="277200"/>
          </a:xfrm>
        </p:spPr>
        <p:txBody>
          <a:bodyPr tIns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lvl="0"/>
            <a:r>
              <a:rPr lang="nb-NO" dirty="0"/>
              <a:t>Click to add subtitle</a:t>
            </a:r>
            <a:endParaRPr lang="nb-NO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31AB733D-60B1-9961-BD6C-C41304FB9EEB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6030000" y="3853456"/>
            <a:ext cx="2422800" cy="198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Chart or Table                           Enter &amp; TAB to view next text style SHIFT+TAB to view previous text style</a:t>
            </a:r>
            <a:endParaRPr lang="nb-NO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B08FF9C7-5762-93BD-F407-231D0B095C8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30000" y="3493456"/>
            <a:ext cx="2422800" cy="277200"/>
          </a:xfrm>
        </p:spPr>
        <p:txBody>
          <a:bodyPr tIns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lvl="0"/>
            <a:r>
              <a:rPr lang="nb-NO" dirty="0"/>
              <a:t>Click to add subtitle</a:t>
            </a:r>
            <a:endParaRPr lang="nb-NO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10DC0AFA-ED3F-CBAC-D500-76C1E30DA39C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8820000" y="3853456"/>
            <a:ext cx="2422800" cy="198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Chart or Table                           Enter &amp; TAB to view next text style SHIFT+TAB to view previous text style</a:t>
            </a:r>
            <a:endParaRPr lang="nb-NO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1F979DDF-0596-697C-FCD6-67D2ED69290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820000" y="3493456"/>
            <a:ext cx="2422800" cy="277200"/>
          </a:xfrm>
        </p:spPr>
        <p:txBody>
          <a:bodyPr tIns="0"/>
          <a:lstStyle>
            <a:lvl1pPr marL="0" indent="0">
              <a:buFontTx/>
              <a:buNone/>
              <a:defRPr sz="1800" b="1"/>
            </a:lvl1pPr>
            <a:lvl2pPr marL="180000" indent="0">
              <a:buFontTx/>
              <a:buNone/>
              <a:defRPr sz="1800" b="1"/>
            </a:lvl2pPr>
            <a:lvl3pPr marL="360000" indent="0">
              <a:buFontTx/>
              <a:buNone/>
              <a:defRPr sz="1800" b="1"/>
            </a:lvl3pPr>
            <a:lvl4pPr>
              <a:buFontTx/>
              <a:buNone/>
              <a:defRPr sz="1800" b="1"/>
            </a:lvl4pPr>
            <a:lvl5pPr>
              <a:buFontTx/>
              <a:buNone/>
              <a:defRPr sz="1800" b="1"/>
            </a:lvl5pPr>
          </a:lstStyle>
          <a:p>
            <a:pPr lvl="0"/>
            <a:r>
              <a:rPr lang="nb-NO" dirty="0"/>
              <a:t>Click to add subtit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646305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55" userDrawn="1">
          <p15:clr>
            <a:srgbClr val="A4A3A4"/>
          </p15:clr>
        </p15:guide>
        <p15:guide id="2" pos="2040" userDrawn="1">
          <p15:clr>
            <a:srgbClr val="A4A3A4"/>
          </p15:clr>
        </p15:guide>
        <p15:guide id="3" pos="3798" userDrawn="1">
          <p15:clr>
            <a:srgbClr val="A4A3A4"/>
          </p15:clr>
        </p15:guide>
        <p15:guide id="5" orient="horz" pos="2199" userDrawn="1">
          <p15:clr>
            <a:srgbClr val="A4A3A4"/>
          </p15:clr>
        </p15:guide>
        <p15:guide id="6" orient="horz" pos="816" userDrawn="1">
          <p15:clr>
            <a:srgbClr val="A4A3A4"/>
          </p15:clr>
        </p15:guide>
        <p15:guide id="7" orient="horz" pos="589" userDrawn="1">
          <p15:clr>
            <a:srgbClr val="A4A3A4"/>
          </p15:clr>
        </p15:guide>
        <p15:guide id="8" orient="horz" pos="2426" userDrawn="1">
          <p15:clr>
            <a:srgbClr val="A4A3A4"/>
          </p15:clr>
        </p15:guide>
        <p15:guide id="9" orient="horz" pos="2065" userDrawn="1">
          <p15:clr>
            <a:srgbClr val="A4A3A4"/>
          </p15:clr>
        </p15:guide>
        <p15:guide id="10" pos="1812" userDrawn="1">
          <p15:clr>
            <a:srgbClr val="A4A3A4"/>
          </p15:clr>
        </p15:guide>
        <p15:guide id="11" pos="3568" userDrawn="1">
          <p15:clr>
            <a:srgbClr val="A4A3A4"/>
          </p15:clr>
        </p15:guide>
        <p15:guide id="12" pos="5328" userDrawn="1">
          <p15:clr>
            <a:srgbClr val="A4A3A4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F7BB58-7A94-41B4-A034-0113B6986B34}" type="datetime3">
              <a:rPr lang="nb-NO" smtClean="0"/>
              <a:t>2024.02.14</a:t>
            </a:fld>
            <a:endParaRPr lang="nb-NO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EC16E0F-0954-4746-531B-6FF3FB5059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noProof="0" dirty="0"/>
              <a:t>Click to add title. </a:t>
            </a:r>
            <a:br>
              <a:rPr lang="en-GB" noProof="0" dirty="0"/>
            </a:br>
            <a:r>
              <a:rPr lang="nb-NO" noProof="0" dirty="0"/>
              <a:t>Maximum two lines.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9999" y="1951038"/>
            <a:ext cx="2422800" cy="38877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Chart or Table                           Enter &amp; TAB to view next text style SHIFT+TAB to view previous text style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83276C0-1F78-45A2-939F-D5F7DA307B5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3239999" y="1951038"/>
            <a:ext cx="2422800" cy="38877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Chart or Table                           Enter &amp; TAB to view next text style SHIFT+TAB to view previous text style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06739BFD-D1FF-4065-AB78-7106C371DFD1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029999" y="1951038"/>
            <a:ext cx="2422800" cy="38877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Chart or Table                           Enter &amp; TAB to view next text style SHIFT+TAB to view previous text style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36D65A9-48FC-4E8A-AD8A-5E7F97F1C06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820000" y="1951038"/>
            <a:ext cx="2422800" cy="38877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noProof="0" dirty="0"/>
              <a:t>Click to add Chart or Table                           Enter &amp; TAB to view next text style SHIFT+TAB to view previous text style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8CF1DC15-4F84-6EDE-51DE-FBB145E7B867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9999" y="363600"/>
            <a:ext cx="10183075" cy="2592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b="0">
                <a:solidFill>
                  <a:schemeClr val="tx2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nb-NO" dirty="0"/>
              <a:t>Click to add chapter</a:t>
            </a:r>
            <a:endParaRPr lang="nb-NO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09A2B877-505E-F797-41C0-C28F851E33F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0000" y="6188400"/>
            <a:ext cx="7664400" cy="316800"/>
          </a:xfrm>
        </p:spPr>
        <p:txBody>
          <a:bodyPr anchor="b" anchorCtr="0"/>
          <a:lstStyle>
            <a:lvl1pPr marL="0" indent="0">
              <a:buNone/>
              <a:defRPr lang="en-US" sz="7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nb-NO" dirty="0"/>
              <a:t>Click to edit source</a:t>
            </a:r>
            <a:endParaRPr lang="nb-NO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65600" y="6188400"/>
            <a:ext cx="277200" cy="309600"/>
          </a:xfrm>
        </p:spPr>
        <p:txBody>
          <a:bodyPr/>
          <a:lstStyle/>
          <a:p>
            <a:fld id="{23AA811B-2EBD-4900-905E-5BE20644961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690735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6" userDrawn="1">
          <p15:clr>
            <a:srgbClr val="A4A3A4"/>
          </p15:clr>
        </p15:guide>
        <p15:guide id="2" pos="2040" userDrawn="1">
          <p15:clr>
            <a:srgbClr val="A4A3A4"/>
          </p15:clr>
        </p15:guide>
        <p15:guide id="3" pos="5555" userDrawn="1">
          <p15:clr>
            <a:srgbClr val="A4A3A4"/>
          </p15:clr>
        </p15:guide>
        <p15:guide id="4" pos="1812" userDrawn="1">
          <p15:clr>
            <a:srgbClr val="A4A3A4"/>
          </p15:clr>
        </p15:guide>
        <p15:guide id="5" pos="3567" userDrawn="1">
          <p15:clr>
            <a:srgbClr val="A4A3A4"/>
          </p15:clr>
        </p15:guide>
        <p15:guide id="6" pos="5324" userDrawn="1">
          <p15:clr>
            <a:srgbClr val="A4A3A4"/>
          </p15:clr>
        </p15:guide>
        <p15:guide id="7" orient="horz" pos="1229" userDrawn="1">
          <p15:clr>
            <a:srgbClr val="A4A3A4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ckground">
            <a:extLst>
              <a:ext uri="{FF2B5EF4-FFF2-40B4-BE49-F238E27FC236}">
                <a16:creationId xmlns:a16="http://schemas.microsoft.com/office/drawing/2014/main" id="{A89E9340-AED5-40D3-B8C0-30854DDBEB7E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000" noProof="0" err="1"/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8C825B9B-339C-438C-90BF-EE2DD94BF53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7999"/>
          </a:xfrm>
          <a:solidFill>
            <a:schemeClr val="bg1">
              <a:lumMod val="85000"/>
            </a:schemeClr>
          </a:solidFill>
        </p:spPr>
        <p:txBody>
          <a:bodyPr lIns="36000" tIns="36000" rIns="36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/>
            </a:lvl1pPr>
          </a:lstStyle>
          <a:p>
            <a:r>
              <a:rPr lang="nb-NO"/>
              <a:t>Click on frame and insert picture via Templafy Images.</a:t>
            </a:r>
          </a:p>
        </p:txBody>
      </p:sp>
      <p:sp>
        <p:nvSpPr>
          <p:cNvPr id="11" name="Date Placeholder 6" hidden="1">
            <a:extLst>
              <a:ext uri="{FF2B5EF4-FFF2-40B4-BE49-F238E27FC236}">
                <a16:creationId xmlns:a16="http://schemas.microsoft.com/office/drawing/2014/main" id="{8999F5ED-39A2-4F84-9E51-712F5E9DF5B8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9C08D9B8-C00B-4391-B817-A50CD5C915ED}" type="datetime3">
              <a:rPr lang="nb-NO" smtClean="0"/>
              <a:t>2024.02.14</a:t>
            </a:fld>
            <a:endParaRPr lang="nb-NO"/>
          </a:p>
        </p:txBody>
      </p:sp>
      <p:sp>
        <p:nvSpPr>
          <p:cNvPr id="12" name="Footer Placeholder 8" hidden="1">
            <a:extLst>
              <a:ext uri="{FF2B5EF4-FFF2-40B4-BE49-F238E27FC236}">
                <a16:creationId xmlns:a16="http://schemas.microsoft.com/office/drawing/2014/main" id="{ABC4C7A0-2DF0-4515-BAEB-3F8812F2F36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Gjensidige Forsikring Group</a:t>
            </a:r>
          </a:p>
        </p:txBody>
      </p:sp>
      <p:sp>
        <p:nvSpPr>
          <p:cNvPr id="13" name="Slide Number Placeholder 10" hidden="1">
            <a:extLst>
              <a:ext uri="{FF2B5EF4-FFF2-40B4-BE49-F238E27FC236}">
                <a16:creationId xmlns:a16="http://schemas.microsoft.com/office/drawing/2014/main" id="{184ADE39-9769-4EF5-BE9A-BA89309D1DC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8722210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ckground">
            <a:extLst>
              <a:ext uri="{FF2B5EF4-FFF2-40B4-BE49-F238E27FC236}">
                <a16:creationId xmlns:a16="http://schemas.microsoft.com/office/drawing/2014/main" id="{A89E9340-AED5-40D3-B8C0-30854DDBEB7E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000" noProof="0" err="1"/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8C825B9B-339C-438C-90BF-EE2DD94BF53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94800" cy="6857999"/>
          </a:xfrm>
          <a:solidFill>
            <a:schemeClr val="bg1">
              <a:lumMod val="85000"/>
            </a:schemeClr>
          </a:solidFill>
        </p:spPr>
        <p:txBody>
          <a:bodyPr lIns="36000" tIns="36000" rIns="36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/>
            </a:lvl1pPr>
          </a:lstStyle>
          <a:p>
            <a:r>
              <a:rPr lang="nb-NO"/>
              <a:t>Click on frame and insert picture via Templafy Images.</a:t>
            </a:r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EA9D56DA-DE8F-447A-A7C6-70F5028FC6C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97200" y="0"/>
            <a:ext cx="6094800" cy="6857999"/>
          </a:xfrm>
          <a:solidFill>
            <a:schemeClr val="bg1">
              <a:lumMod val="85000"/>
            </a:schemeClr>
          </a:solidFill>
        </p:spPr>
        <p:txBody>
          <a:bodyPr lIns="36000" tIns="36000" rIns="36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/>
            </a:lvl1pPr>
          </a:lstStyle>
          <a:p>
            <a:r>
              <a:rPr lang="nb-NO"/>
              <a:t>Click on frame and insert picture via Templafy Images.</a:t>
            </a:r>
          </a:p>
        </p:txBody>
      </p:sp>
      <p:sp>
        <p:nvSpPr>
          <p:cNvPr id="11" name="Date Placeholder 6" hidden="1">
            <a:extLst>
              <a:ext uri="{FF2B5EF4-FFF2-40B4-BE49-F238E27FC236}">
                <a16:creationId xmlns:a16="http://schemas.microsoft.com/office/drawing/2014/main" id="{8999F5ED-39A2-4F84-9E51-712F5E9DF5B8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68762643-6812-4B6C-8A22-DF07D7D29084}" type="datetime3">
              <a:rPr lang="nb-NO" smtClean="0"/>
              <a:t>2024.02.14</a:t>
            </a:fld>
            <a:endParaRPr lang="nb-NO"/>
          </a:p>
        </p:txBody>
      </p:sp>
      <p:sp>
        <p:nvSpPr>
          <p:cNvPr id="12" name="Footer Placeholder 8" hidden="1">
            <a:extLst>
              <a:ext uri="{FF2B5EF4-FFF2-40B4-BE49-F238E27FC236}">
                <a16:creationId xmlns:a16="http://schemas.microsoft.com/office/drawing/2014/main" id="{ABC4C7A0-2DF0-4515-BAEB-3F8812F2F36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Gjensidige Forsikring Group</a:t>
            </a:r>
          </a:p>
        </p:txBody>
      </p:sp>
      <p:sp>
        <p:nvSpPr>
          <p:cNvPr id="13" name="Slide Number Placeholder 10" hidden="1">
            <a:extLst>
              <a:ext uri="{FF2B5EF4-FFF2-40B4-BE49-F238E27FC236}">
                <a16:creationId xmlns:a16="http://schemas.microsoft.com/office/drawing/2014/main" id="{184ADE39-9769-4EF5-BE9A-BA89309D1DC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2210937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rter Pa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ckground">
            <a:extLst>
              <a:ext uri="{FF2B5EF4-FFF2-40B4-BE49-F238E27FC236}">
                <a16:creationId xmlns:a16="http://schemas.microsoft.com/office/drawing/2014/main" id="{A89E9340-AED5-40D3-B8C0-30854DDBEB7E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000" noProof="0" err="1"/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8C825B9B-339C-438C-90BF-EE2DD94BF53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4064400" cy="6857999"/>
          </a:xfrm>
          <a:solidFill>
            <a:schemeClr val="bg1">
              <a:lumMod val="85000"/>
            </a:schemeClr>
          </a:solidFill>
        </p:spPr>
        <p:txBody>
          <a:bodyPr lIns="36000" tIns="36000" rIns="36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/>
            </a:lvl1pPr>
          </a:lstStyle>
          <a:p>
            <a:r>
              <a:rPr lang="nb-NO"/>
              <a:t>Click on frame and insert picture via Templafy Images.</a:t>
            </a:r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EA9D56DA-DE8F-447A-A7C6-70F5028FC6C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064400" y="0"/>
            <a:ext cx="4064400" cy="6857999"/>
          </a:xfrm>
          <a:solidFill>
            <a:schemeClr val="bg1">
              <a:lumMod val="85000"/>
            </a:schemeClr>
          </a:solidFill>
        </p:spPr>
        <p:txBody>
          <a:bodyPr lIns="36000" tIns="36000" rIns="36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/>
            </a:lvl1pPr>
          </a:lstStyle>
          <a:p>
            <a:r>
              <a:rPr lang="nb-NO"/>
              <a:t>Click on frame and insert picture via Templafy Images.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7CCEAC36-73D0-4210-B6CB-1475838E366B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127600" y="0"/>
            <a:ext cx="4064400" cy="6857999"/>
          </a:xfrm>
          <a:solidFill>
            <a:schemeClr val="bg1">
              <a:lumMod val="85000"/>
            </a:schemeClr>
          </a:solidFill>
        </p:spPr>
        <p:txBody>
          <a:bodyPr lIns="36000" tIns="36000" rIns="36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/>
            </a:lvl1pPr>
          </a:lstStyle>
          <a:p>
            <a:r>
              <a:rPr lang="nb-NO"/>
              <a:t>Click on frame and insert picture via Templafy Images.</a:t>
            </a:r>
          </a:p>
        </p:txBody>
      </p:sp>
      <p:sp>
        <p:nvSpPr>
          <p:cNvPr id="11" name="Date Placeholder 6" hidden="1">
            <a:extLst>
              <a:ext uri="{FF2B5EF4-FFF2-40B4-BE49-F238E27FC236}">
                <a16:creationId xmlns:a16="http://schemas.microsoft.com/office/drawing/2014/main" id="{8999F5ED-39A2-4F84-9E51-712F5E9DF5B8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0AD0BA41-822F-45DF-AFD8-114633A11250}" type="datetime3">
              <a:rPr lang="nb-NO" smtClean="0"/>
              <a:t>2024.02.14</a:t>
            </a:fld>
            <a:endParaRPr lang="nb-NO"/>
          </a:p>
        </p:txBody>
      </p:sp>
      <p:sp>
        <p:nvSpPr>
          <p:cNvPr id="12" name="Footer Placeholder 8" hidden="1">
            <a:extLst>
              <a:ext uri="{FF2B5EF4-FFF2-40B4-BE49-F238E27FC236}">
                <a16:creationId xmlns:a16="http://schemas.microsoft.com/office/drawing/2014/main" id="{ABC4C7A0-2DF0-4515-BAEB-3F8812F2F36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Gjensidige Forsikring Group</a:t>
            </a:r>
          </a:p>
        </p:txBody>
      </p:sp>
      <p:sp>
        <p:nvSpPr>
          <p:cNvPr id="13" name="Slide Number Placeholder 10" hidden="1">
            <a:extLst>
              <a:ext uri="{FF2B5EF4-FFF2-40B4-BE49-F238E27FC236}">
                <a16:creationId xmlns:a16="http://schemas.microsoft.com/office/drawing/2014/main" id="{184ADE39-9769-4EF5-BE9A-BA89309D1DC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828418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Text and Picture B">
    <p:bg>
      <p:bgPr>
        <a:solidFill>
          <a:srgbClr val="F4FFA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">
            <a:extLst>
              <a:ext uri="{FF2B5EF4-FFF2-40B4-BE49-F238E27FC236}">
                <a16:creationId xmlns:a16="http://schemas.microsoft.com/office/drawing/2014/main" id="{25664855-F9BE-6B5E-D839-9C1C28A6401F}"/>
              </a:ext>
            </a:extLst>
          </p:cNvPr>
          <p:cNvSpPr/>
          <p:nvPr userDrawn="1"/>
        </p:nvSpPr>
        <p:spPr bwMode="white">
          <a:xfrm>
            <a:off x="0" y="0"/>
            <a:ext cx="12193200" cy="6858000"/>
          </a:xfrm>
          <a:prstGeom prst="rect">
            <a:avLst/>
          </a:prstGeom>
          <a:solidFill>
            <a:srgbClr val="F4FF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0" tIns="270000" rIns="270000" bIns="270000" rtlCol="0" anchor="ctr"/>
          <a:lstStyle/>
          <a:p>
            <a:pPr algn="ctr"/>
            <a:endParaRPr lang="nb-NO" sz="1600" noProof="0">
              <a:solidFill>
                <a:schemeClr val="bg1"/>
              </a:solidFill>
            </a:endParaRPr>
          </a:p>
        </p:txBody>
      </p:sp>
      <p:sp>
        <p:nvSpPr>
          <p:cNvPr id="4" name="Footer Placeholder 8" hidden="1">
            <a:extLst>
              <a:ext uri="{FF2B5EF4-FFF2-40B4-BE49-F238E27FC236}">
                <a16:creationId xmlns:a16="http://schemas.microsoft.com/office/drawing/2014/main" id="{3BB92FD5-7485-7717-1D46-86CF2AC1B10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Gjensidige Forsikring Group</a:t>
            </a:r>
          </a:p>
        </p:txBody>
      </p:sp>
      <p:sp>
        <p:nvSpPr>
          <p:cNvPr id="5" name="Slide Number Placeholder 10" hidden="1">
            <a:extLst>
              <a:ext uri="{FF2B5EF4-FFF2-40B4-BE49-F238E27FC236}">
                <a16:creationId xmlns:a16="http://schemas.microsoft.com/office/drawing/2014/main" id="{C305ACF0-B831-D078-A058-FD23A4E5E9E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F3C156E0-AE28-9489-6BF2-E96794DC24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86285" y="251489"/>
            <a:ext cx="2052000" cy="50864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76976" y="1497626"/>
            <a:ext cx="5680800" cy="3728870"/>
          </a:xfrm>
        </p:spPr>
        <p:txBody>
          <a:bodyPr/>
          <a:lstStyle>
            <a:lvl1pPr marL="0" indent="648130">
              <a:lnSpc>
                <a:spcPct val="90000"/>
              </a:lnSpc>
              <a:defRPr sz="6001">
                <a:solidFill>
                  <a:schemeClr val="tx2"/>
                </a:solidFill>
              </a:defRPr>
            </a:lvl1pPr>
          </a:lstStyle>
          <a:p>
            <a:r>
              <a:rPr lang="nb-NO" dirty="0"/>
              <a:t>Click to add short title</a:t>
            </a:r>
            <a:endParaRPr lang="nb-NO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48E0C2B-3F30-DD6D-8136-CBB6E97DBAB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76976" y="5510822"/>
            <a:ext cx="5680800" cy="67725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1000"/>
              </a:lnSpc>
              <a:spcBef>
                <a:spcPts val="1000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sz="1400" b="0" i="0" u="none" cap="none">
                <a:solidFill>
                  <a:srgbClr val="000000"/>
                </a:solidFill>
                <a:latin typeface="Gjensidige Type" pitchFamily="50" charset="0"/>
                <a:ea typeface="Arial" pitchFamily="34" charset="0"/>
              </a:defRPr>
            </a:lvl1pPr>
            <a:lvl2pPr marL="342969" indent="-176248" algn="l">
              <a:lnSpc>
                <a:spcPct val="101000"/>
              </a:lnSpc>
              <a:spcBef>
                <a:spcPts val="850"/>
              </a:spcBef>
              <a:spcAft>
                <a:spcPts val="0"/>
              </a:spcAft>
              <a:buClrTx/>
              <a:buFont typeface="Arial" panose="020B0604020202020204" pitchFamily="34" charset="0"/>
              <a:buChar char="○"/>
              <a:defRPr sz="1600" b="0" i="0" u="none" cap="none">
                <a:solidFill>
                  <a:srgbClr val="000000"/>
                </a:solidFill>
                <a:latin typeface="+mn-lt"/>
              </a:defRPr>
            </a:lvl2pPr>
            <a:lvl3pPr marL="500163" indent="-161957" algn="l">
              <a:lnSpc>
                <a:spcPct val="101000"/>
              </a:lnSpc>
              <a:spcBef>
                <a:spcPts val="8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u="none" cap="none">
                <a:solidFill>
                  <a:srgbClr val="000000"/>
                </a:solidFill>
                <a:latin typeface="+mn-lt"/>
              </a:defRPr>
            </a:lvl3pPr>
            <a:lvl4pPr marL="652593" indent="-111941" algn="l">
              <a:lnSpc>
                <a:spcPct val="101000"/>
              </a:lnSpc>
              <a:spcBef>
                <a:spcPts val="900"/>
              </a:spcBef>
              <a:spcAft>
                <a:spcPts val="0"/>
              </a:spcAft>
              <a:buClrTx/>
              <a:buFont typeface="Arial" pitchFamily="34" charset="0"/>
              <a:buChar char="°"/>
              <a:defRPr sz="1600" b="0" i="0" u="none" cap="none">
                <a:solidFill>
                  <a:srgbClr val="000000"/>
                </a:solidFill>
                <a:latin typeface="+mn-lt"/>
              </a:defRPr>
            </a:lvl4pPr>
            <a:lvl5pPr marL="809787" indent="-138140" algn="l">
              <a:lnSpc>
                <a:spcPct val="101000"/>
              </a:lnSpc>
              <a:spcBef>
                <a:spcPts val="7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6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endParaRPr lang="nb-NO" dirty="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0E2F13E-C7DA-1217-0EAF-CDAE09B6204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241332" y="251648"/>
            <a:ext cx="5656999" cy="6381695"/>
          </a:xfrm>
          <a:solidFill>
            <a:schemeClr val="bg1">
              <a:lumMod val="85000"/>
            </a:schemeClr>
          </a:solidFill>
        </p:spPr>
        <p:txBody>
          <a:bodyPr lIns="36000" tIns="36000" rIns="36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/>
            </a:lvl1pPr>
          </a:lstStyle>
          <a:p>
            <a:r>
              <a:rPr lang="nb-NO"/>
              <a:t>Click on frame and insert picture via Templafy Images.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E2FF0872-7937-DF6C-64A7-78F9BBF4D0CA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6278375" y="6447257"/>
            <a:ext cx="5681684" cy="221018"/>
          </a:xfrm>
        </p:spPr>
        <p:txBody>
          <a:bodyPr bIns="36000"/>
          <a:lstStyle>
            <a:lvl1pPr algn="r">
              <a:defRPr sz="1200">
                <a:solidFill>
                  <a:srgbClr val="090C33"/>
                </a:solidFill>
                <a:latin typeface="Gjensidige Type" pitchFamily="50" charset="0"/>
                <a:ea typeface="Arial" pitchFamily="34" charset="0"/>
              </a:defRPr>
            </a:lvl1pPr>
          </a:lstStyle>
          <a:p>
            <a:r>
              <a:rPr lang="nb-NO"/>
              <a:t>Date, Month Year</a:t>
            </a:r>
          </a:p>
        </p:txBody>
      </p:sp>
    </p:spTree>
    <p:extLst>
      <p:ext uri="{BB962C8B-B14F-4D97-AF65-F5344CB8AC3E}">
        <p14:creationId xmlns:p14="http://schemas.microsoft.com/office/powerpoint/2010/main" val="301969787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943" userDrawn="1">
          <p15:clr>
            <a:srgbClr val="A4A3A4"/>
          </p15:clr>
        </p15:guide>
        <p15:guide id="2" orient="horz" pos="3292" userDrawn="1">
          <p15:clr>
            <a:srgbClr val="A4A3A4"/>
          </p15:clr>
        </p15:guide>
        <p15:guide id="3" pos="3954" userDrawn="1">
          <p15:clr>
            <a:srgbClr val="A4A3A4"/>
          </p15:clr>
        </p15:guide>
        <p15:guide id="4" pos="7533" userDrawn="1">
          <p15:clr>
            <a:srgbClr val="A4A3A4"/>
          </p15:clr>
        </p15:guide>
        <p15:guide id="8" orient="horz" pos="3471" userDrawn="1">
          <p15:clr>
            <a:srgbClr val="A4A3A4"/>
          </p15:clr>
        </p15:guide>
        <p15:guide id="10" orient="horz" pos="158" userDrawn="1">
          <p15:clr>
            <a:srgbClr val="A4A3A4"/>
          </p15:clr>
        </p15:guide>
        <p15:guide id="11" pos="152" userDrawn="1">
          <p15:clr>
            <a:srgbClr val="A4A3A4"/>
          </p15:clr>
        </p15:guide>
        <p15:guide id="12" pos="3715" userDrawn="1">
          <p15:clr>
            <a:srgbClr val="A4A3A4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Phot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ackground">
            <a:extLst>
              <a:ext uri="{FF2B5EF4-FFF2-40B4-BE49-F238E27FC236}">
                <a16:creationId xmlns:a16="http://schemas.microsoft.com/office/drawing/2014/main" id="{679FEEB3-857B-4D28-84BC-25D2AA3CCE84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000" noProof="0" err="1"/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8EBEBA53-0E3D-4BA7-95FD-96932D18AC7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7999"/>
          </a:xfrm>
          <a:solidFill>
            <a:schemeClr val="bg1">
              <a:lumMod val="85000"/>
            </a:schemeClr>
          </a:solidFill>
        </p:spPr>
        <p:txBody>
          <a:bodyPr lIns="36000" tIns="36000" rIns="36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/>
            </a:lvl1pPr>
          </a:lstStyle>
          <a:p>
            <a:r>
              <a:rPr lang="nb-NO"/>
              <a:t>To insert picture from Templafy click on slide frame and select from Templafy Images.</a:t>
            </a:r>
          </a:p>
          <a:p>
            <a:r>
              <a:rPr lang="nb-NO"/>
              <a:t>To insert picture from local computer, insert text in the title field first to access the picture icon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800" y="2980800"/>
            <a:ext cx="10403875" cy="896400"/>
          </a:xfrm>
        </p:spPr>
        <p:txBody>
          <a:bodyPr/>
          <a:lstStyle>
            <a:lvl1pPr>
              <a:defRPr sz="6000">
                <a:solidFill>
                  <a:schemeClr val="tx2"/>
                </a:solidFill>
              </a:defRPr>
            </a:lvl1pPr>
          </a:lstStyle>
          <a:p>
            <a:r>
              <a:rPr lang="nb-NO" noProof="0" dirty="0"/>
              <a:t>Click to add title</a:t>
            </a:r>
            <a:endParaRPr lang="nb-NO"/>
          </a:p>
        </p:txBody>
      </p:sp>
      <p:sp>
        <p:nvSpPr>
          <p:cNvPr id="12" name="Date Placeholder 6" hidden="1">
            <a:extLst>
              <a:ext uri="{FF2B5EF4-FFF2-40B4-BE49-F238E27FC236}">
                <a16:creationId xmlns:a16="http://schemas.microsoft.com/office/drawing/2014/main" id="{C9636B8F-329B-4E77-8332-4DE995E61FE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C8C5E241-C719-42F2-9B9E-D13597F3518A}" type="datetime3">
              <a:rPr lang="nb-NO" smtClean="0"/>
              <a:t>2024.02.14</a:t>
            </a:fld>
            <a:endParaRPr lang="nb-NO"/>
          </a:p>
        </p:txBody>
      </p:sp>
      <p:sp>
        <p:nvSpPr>
          <p:cNvPr id="13" name="Footer Placeholder 8" hidden="1">
            <a:extLst>
              <a:ext uri="{FF2B5EF4-FFF2-40B4-BE49-F238E27FC236}">
                <a16:creationId xmlns:a16="http://schemas.microsoft.com/office/drawing/2014/main" id="{6C87814A-2F1E-4A70-936C-21AB7EE1255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Gjensidige Forsikring Group</a:t>
            </a:r>
          </a:p>
        </p:txBody>
      </p:sp>
      <p:sp>
        <p:nvSpPr>
          <p:cNvPr id="14" name="Slide Number Placeholder 10" hidden="1">
            <a:extLst>
              <a:ext uri="{FF2B5EF4-FFF2-40B4-BE49-F238E27FC236}">
                <a16:creationId xmlns:a16="http://schemas.microsoft.com/office/drawing/2014/main" id="{34FF5C55-1731-4D02-BC7A-C5FA3EA4BB3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7384808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ckground">
            <a:extLst>
              <a:ext uri="{FF2B5EF4-FFF2-40B4-BE49-F238E27FC236}">
                <a16:creationId xmlns:a16="http://schemas.microsoft.com/office/drawing/2014/main" id="{A89E9340-AED5-40D3-B8C0-30854DDBEB7E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000" noProof="0" err="1"/>
          </a:p>
        </p:txBody>
      </p:sp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F7F70C4B-2A2F-41D9-9D73-9769877A1495}"/>
              </a:ext>
            </a:extLst>
          </p:cNvPr>
          <p:cNvSpPr>
            <a:spLocks noGrp="1"/>
          </p:cNvSpPr>
          <p:nvPr>
            <p:ph type="media" sz="quarter" idx="18"/>
          </p:nvPr>
        </p:nvSpPr>
        <p:spPr>
          <a:xfrm>
            <a:off x="0" y="0"/>
            <a:ext cx="12192000" cy="6858000"/>
          </a:xfrm>
        </p:spPr>
        <p:txBody>
          <a:bodyPr tIns="540000" anchor="ctr" anchorCtr="0"/>
          <a:lstStyle>
            <a:lvl1pPr marL="0" indent="0" algn="ctr">
              <a:buNone/>
              <a:defRPr/>
            </a:lvl1pPr>
          </a:lstStyle>
          <a:p>
            <a:r>
              <a:rPr lang="nb-NO"/>
              <a:t>Click icon to add media</a:t>
            </a:r>
          </a:p>
        </p:txBody>
      </p:sp>
      <p:sp>
        <p:nvSpPr>
          <p:cNvPr id="11" name="Date Placeholder 6" hidden="1">
            <a:extLst>
              <a:ext uri="{FF2B5EF4-FFF2-40B4-BE49-F238E27FC236}">
                <a16:creationId xmlns:a16="http://schemas.microsoft.com/office/drawing/2014/main" id="{8999F5ED-39A2-4F84-9E51-712F5E9DF5B8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C2559F34-B9F4-4E58-9987-9128663E088C}" type="datetime3">
              <a:rPr lang="nb-NO" smtClean="0"/>
              <a:t>2024.02.14</a:t>
            </a:fld>
            <a:endParaRPr lang="nb-NO"/>
          </a:p>
        </p:txBody>
      </p:sp>
      <p:sp>
        <p:nvSpPr>
          <p:cNvPr id="12" name="Footer Placeholder 8" hidden="1">
            <a:extLst>
              <a:ext uri="{FF2B5EF4-FFF2-40B4-BE49-F238E27FC236}">
                <a16:creationId xmlns:a16="http://schemas.microsoft.com/office/drawing/2014/main" id="{ABC4C7A0-2DF0-4515-BAEB-3F8812F2F36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Gjensidige Forsikring Group</a:t>
            </a:r>
          </a:p>
        </p:txBody>
      </p:sp>
      <p:sp>
        <p:nvSpPr>
          <p:cNvPr id="13" name="Slide Number Placeholder 10" hidden="1">
            <a:extLst>
              <a:ext uri="{FF2B5EF4-FFF2-40B4-BE49-F238E27FC236}">
                <a16:creationId xmlns:a16="http://schemas.microsoft.com/office/drawing/2014/main" id="{184ADE39-9769-4EF5-BE9A-BA89309D1DC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2498408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Purple">
    <p:bg>
      <p:bgPr>
        <a:solidFill>
          <a:srgbClr val="7C55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8" hidden="1">
            <a:extLst>
              <a:ext uri="{FF2B5EF4-FFF2-40B4-BE49-F238E27FC236}">
                <a16:creationId xmlns:a16="http://schemas.microsoft.com/office/drawing/2014/main" id="{8AEE63CC-4173-3E1E-E550-5148892CC7F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Gjensidige Forsikring Group</a:t>
            </a:r>
          </a:p>
        </p:txBody>
      </p:sp>
      <p:sp>
        <p:nvSpPr>
          <p:cNvPr id="5" name="Slide Number Placeholder 10" hidden="1">
            <a:extLst>
              <a:ext uri="{FF2B5EF4-FFF2-40B4-BE49-F238E27FC236}">
                <a16:creationId xmlns:a16="http://schemas.microsoft.com/office/drawing/2014/main" id="{B951FE21-0872-707A-862C-7C2CD137749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6" name="Date Placeholder 6" hidden="1">
            <a:extLst>
              <a:ext uri="{FF2B5EF4-FFF2-40B4-BE49-F238E27FC236}">
                <a16:creationId xmlns:a16="http://schemas.microsoft.com/office/drawing/2014/main" id="{C38A4A97-66B3-0283-FA0B-2C3426315C4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BB0F90D0-DE3E-4713-B566-C06C7B4F28DA}" type="datetime3">
              <a:rPr lang="nb-NO" smtClean="0"/>
              <a:t>2024.02.14</a:t>
            </a:fld>
            <a:endParaRPr lang="nb-NO"/>
          </a:p>
        </p:txBody>
      </p:sp>
      <p:sp>
        <p:nvSpPr>
          <p:cNvPr id="2" name="Background">
            <a:extLst>
              <a:ext uri="{FF2B5EF4-FFF2-40B4-BE49-F238E27FC236}">
                <a16:creationId xmlns:a16="http://schemas.microsoft.com/office/drawing/2014/main" id="{50241620-0664-B9FC-94B8-323D444BDB2C}"/>
              </a:ext>
            </a:extLst>
          </p:cNvPr>
          <p:cNvSpPr/>
          <p:nvPr userDrawn="1"/>
        </p:nvSpPr>
        <p:spPr bwMode="white">
          <a:xfrm>
            <a:off x="0" y="0"/>
            <a:ext cx="12193200" cy="6858000"/>
          </a:xfrm>
          <a:prstGeom prst="rect">
            <a:avLst/>
          </a:prstGeom>
          <a:solidFill>
            <a:srgbClr val="7C5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0" tIns="270000" rIns="270000" bIns="270000" rtlCol="0" anchor="ctr"/>
          <a:lstStyle/>
          <a:p>
            <a:pPr algn="ctr"/>
            <a:endParaRPr lang="nb-NO" sz="1600" noProof="0">
              <a:solidFill>
                <a:schemeClr val="bg1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F612A26-AEEB-A4D6-CDC1-61FFC8BA6B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582" y="622300"/>
            <a:ext cx="10994400" cy="4946650"/>
          </a:xfrm>
        </p:spPr>
        <p:txBody>
          <a:bodyPr anchor="t" anchorCtr="0"/>
          <a:lstStyle>
            <a:lvl1pPr indent="1368000">
              <a:lnSpc>
                <a:spcPct val="80000"/>
              </a:lnSpc>
              <a:spcBef>
                <a:spcPts val="1000"/>
              </a:spcBef>
              <a:defRPr sz="13400"/>
            </a:lvl1pPr>
          </a:lstStyle>
          <a:p>
            <a:r>
              <a:rPr lang="nb-NO" dirty="0"/>
              <a:t>Click to add a quote</a:t>
            </a:r>
            <a:endParaRPr lang="nb-NO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553022F-08BC-AD53-9011-5A4AA9F2AD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0582" y="5568951"/>
            <a:ext cx="10994400" cy="619124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Gjensidige Type" pitchFamily="50" charset="0"/>
                <a:ea typeface="Arial" pitchFamily="34" charset="0"/>
              </a:defRPr>
            </a:lvl1pPr>
          </a:lstStyle>
          <a:p>
            <a:pPr marL="0" marR="0" lvl="0" indent="0" algn="l" defTabSz="914446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Click to add name or sourc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490189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157" userDrawn="1">
          <p15:clr>
            <a:srgbClr val="A4A3A4"/>
          </p15:clr>
        </p15:guide>
        <p15:guide id="5" orient="horz" pos="3508" userDrawn="1">
          <p15:clr>
            <a:srgbClr val="A4A3A4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Purple white text">
    <p:bg>
      <p:bgPr>
        <a:solidFill>
          <a:srgbClr val="7C55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8" hidden="1">
            <a:extLst>
              <a:ext uri="{FF2B5EF4-FFF2-40B4-BE49-F238E27FC236}">
                <a16:creationId xmlns:a16="http://schemas.microsoft.com/office/drawing/2014/main" id="{D1A4C75B-7369-0A8F-43C1-A129AE8EBC0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Gjensidige Forsikring Group</a:t>
            </a:r>
          </a:p>
        </p:txBody>
      </p:sp>
      <p:sp>
        <p:nvSpPr>
          <p:cNvPr id="5" name="Slide Number Placeholder 10" hidden="1">
            <a:extLst>
              <a:ext uri="{FF2B5EF4-FFF2-40B4-BE49-F238E27FC236}">
                <a16:creationId xmlns:a16="http://schemas.microsoft.com/office/drawing/2014/main" id="{46819C57-7AE7-56F3-573E-975E1ADBD71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6" name="Date Placeholder 6" hidden="1">
            <a:extLst>
              <a:ext uri="{FF2B5EF4-FFF2-40B4-BE49-F238E27FC236}">
                <a16:creationId xmlns:a16="http://schemas.microsoft.com/office/drawing/2014/main" id="{BA12FCED-BA09-8906-6464-67FBEE69AA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BB0F90D0-DE3E-4713-B566-C06C7B4F28DA}" type="datetime3">
              <a:rPr lang="nb-NO" smtClean="0"/>
              <a:t>2024.02.14</a:t>
            </a:fld>
            <a:endParaRPr lang="nb-NO"/>
          </a:p>
        </p:txBody>
      </p:sp>
      <p:sp>
        <p:nvSpPr>
          <p:cNvPr id="2" name="Background">
            <a:extLst>
              <a:ext uri="{FF2B5EF4-FFF2-40B4-BE49-F238E27FC236}">
                <a16:creationId xmlns:a16="http://schemas.microsoft.com/office/drawing/2014/main" id="{50241620-0664-B9FC-94B8-323D444BDB2C}"/>
              </a:ext>
            </a:extLst>
          </p:cNvPr>
          <p:cNvSpPr/>
          <p:nvPr userDrawn="1"/>
        </p:nvSpPr>
        <p:spPr bwMode="white">
          <a:xfrm>
            <a:off x="0" y="0"/>
            <a:ext cx="12193200" cy="6858000"/>
          </a:xfrm>
          <a:prstGeom prst="rect">
            <a:avLst/>
          </a:prstGeom>
          <a:solidFill>
            <a:srgbClr val="7C5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0" tIns="270000" rIns="270000" bIns="270000" rtlCol="0" anchor="ctr"/>
          <a:lstStyle/>
          <a:p>
            <a:pPr algn="ctr"/>
            <a:endParaRPr lang="nb-NO" sz="1600" noProof="0">
              <a:solidFill>
                <a:schemeClr val="bg1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E3A2865-A6B2-F2B9-BA98-F2CB61E8E4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582" y="622300"/>
            <a:ext cx="10994400" cy="4946650"/>
          </a:xfrm>
        </p:spPr>
        <p:txBody>
          <a:bodyPr anchor="t" anchorCtr="0"/>
          <a:lstStyle>
            <a:lvl1pPr indent="1368000">
              <a:lnSpc>
                <a:spcPct val="80000"/>
              </a:lnSpc>
              <a:spcBef>
                <a:spcPts val="1000"/>
              </a:spcBef>
              <a:defRPr sz="13400">
                <a:solidFill>
                  <a:schemeClr val="tx1"/>
                </a:solidFill>
              </a:defRPr>
            </a:lvl1pPr>
          </a:lstStyle>
          <a:p>
            <a:r>
              <a:rPr lang="nb-NO" dirty="0"/>
              <a:t>Click to add a quote</a:t>
            </a:r>
            <a:endParaRPr lang="nb-NO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553022F-08BC-AD53-9011-5A4AA9F2AD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0582" y="5568951"/>
            <a:ext cx="10994400" cy="619124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Gjensidige Type" pitchFamily="50" charset="0"/>
                <a:ea typeface="Arial" pitchFamily="34" charset="0"/>
              </a:defRPr>
            </a:lvl1pPr>
          </a:lstStyle>
          <a:p>
            <a:pPr marL="0" marR="0" lvl="0" indent="0" algn="l" defTabSz="914446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Click to add name or sourc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846346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157" userDrawn="1">
          <p15:clr>
            <a:srgbClr val="A4A3A4"/>
          </p15:clr>
        </p15:guide>
        <p15:guide id="5" orient="horz" pos="3508" userDrawn="1">
          <p15:clr>
            <a:srgbClr val="A4A3A4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Dark blue yellow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8" hidden="1">
            <a:extLst>
              <a:ext uri="{FF2B5EF4-FFF2-40B4-BE49-F238E27FC236}">
                <a16:creationId xmlns:a16="http://schemas.microsoft.com/office/drawing/2014/main" id="{79BFCFD0-BAB3-8E41-ED01-992934BC499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Gjensidige Forsikring Group</a:t>
            </a:r>
          </a:p>
        </p:txBody>
      </p:sp>
      <p:sp>
        <p:nvSpPr>
          <p:cNvPr id="5" name="Slide Number Placeholder 10" hidden="1">
            <a:extLst>
              <a:ext uri="{FF2B5EF4-FFF2-40B4-BE49-F238E27FC236}">
                <a16:creationId xmlns:a16="http://schemas.microsoft.com/office/drawing/2014/main" id="{320EB151-45F2-0F72-6142-B9FABEFF3D6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6" name="Date Placeholder 6" hidden="1">
            <a:extLst>
              <a:ext uri="{FF2B5EF4-FFF2-40B4-BE49-F238E27FC236}">
                <a16:creationId xmlns:a16="http://schemas.microsoft.com/office/drawing/2014/main" id="{FA0C43C1-3F86-9958-4021-47878E1740A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BB0F90D0-DE3E-4713-B566-C06C7B4F28DA}" type="datetime3">
              <a:rPr lang="nb-NO" smtClean="0"/>
              <a:t>2024.02.14</a:t>
            </a:fld>
            <a:endParaRPr lang="nb-NO"/>
          </a:p>
        </p:txBody>
      </p:sp>
      <p:sp>
        <p:nvSpPr>
          <p:cNvPr id="2" name="Background">
            <a:extLst>
              <a:ext uri="{FF2B5EF4-FFF2-40B4-BE49-F238E27FC236}">
                <a16:creationId xmlns:a16="http://schemas.microsoft.com/office/drawing/2014/main" id="{50241620-0664-B9FC-94B8-323D444BDB2C}"/>
              </a:ext>
            </a:extLst>
          </p:cNvPr>
          <p:cNvSpPr/>
          <p:nvPr userDrawn="1"/>
        </p:nvSpPr>
        <p:spPr bwMode="white">
          <a:xfrm>
            <a:off x="0" y="0"/>
            <a:ext cx="12193200" cy="6858000"/>
          </a:xfrm>
          <a:prstGeom prst="rect">
            <a:avLst/>
          </a:prstGeom>
          <a:solidFill>
            <a:srgbClr val="090C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0" tIns="270000" rIns="270000" bIns="270000" rtlCol="0" anchor="ctr"/>
          <a:lstStyle/>
          <a:p>
            <a:pPr algn="ctr"/>
            <a:endParaRPr lang="nb-NO" sz="1600" noProof="0">
              <a:solidFill>
                <a:schemeClr val="bg1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3DD2417-5F34-DA97-6581-4D31AE955C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582" y="622300"/>
            <a:ext cx="10994400" cy="4946650"/>
          </a:xfrm>
        </p:spPr>
        <p:txBody>
          <a:bodyPr anchor="t" anchorCtr="0"/>
          <a:lstStyle>
            <a:lvl1pPr indent="1368000">
              <a:lnSpc>
                <a:spcPct val="80000"/>
              </a:lnSpc>
              <a:spcBef>
                <a:spcPts val="1000"/>
              </a:spcBef>
              <a:defRPr sz="13400">
                <a:solidFill>
                  <a:srgbClr val="F4FFAF"/>
                </a:solidFill>
              </a:defRPr>
            </a:lvl1pPr>
          </a:lstStyle>
          <a:p>
            <a:r>
              <a:rPr lang="nb-NO" dirty="0"/>
              <a:t>Click to add a quote</a:t>
            </a:r>
            <a:endParaRPr lang="nb-NO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553022F-08BC-AD53-9011-5A4AA9F2AD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0582" y="5568951"/>
            <a:ext cx="10994400" cy="619124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4FFAF"/>
                </a:solidFill>
                <a:latin typeface="Gjensidige Type" pitchFamily="50" charset="0"/>
                <a:ea typeface="Arial" pitchFamily="34" charset="0"/>
              </a:defRPr>
            </a:lvl1pPr>
          </a:lstStyle>
          <a:p>
            <a:pPr marL="0" marR="0" lvl="0" indent="0" algn="l" defTabSz="914446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Click to add name or sourc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975938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157" userDrawn="1">
          <p15:clr>
            <a:srgbClr val="A4A3A4"/>
          </p15:clr>
        </p15:guide>
        <p15:guide id="5" orient="horz" pos="3508" userDrawn="1">
          <p15:clr>
            <a:srgbClr val="A4A3A4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Light Purple">
    <p:bg>
      <p:bgPr>
        <a:solidFill>
          <a:srgbClr val="CBBB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8" hidden="1">
            <a:extLst>
              <a:ext uri="{FF2B5EF4-FFF2-40B4-BE49-F238E27FC236}">
                <a16:creationId xmlns:a16="http://schemas.microsoft.com/office/drawing/2014/main" id="{4D7B9C01-FC61-2B47-D1B6-62B214D9E02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Gjensidige Forsikring Group</a:t>
            </a:r>
          </a:p>
        </p:txBody>
      </p:sp>
      <p:sp>
        <p:nvSpPr>
          <p:cNvPr id="5" name="Slide Number Placeholder 10" hidden="1">
            <a:extLst>
              <a:ext uri="{FF2B5EF4-FFF2-40B4-BE49-F238E27FC236}">
                <a16:creationId xmlns:a16="http://schemas.microsoft.com/office/drawing/2014/main" id="{7192B221-CF62-9E24-59D4-E7614560FA8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6" name="Date Placeholder 6" hidden="1">
            <a:extLst>
              <a:ext uri="{FF2B5EF4-FFF2-40B4-BE49-F238E27FC236}">
                <a16:creationId xmlns:a16="http://schemas.microsoft.com/office/drawing/2014/main" id="{FEDF4731-8067-801D-65EE-453DAA8602A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BB0F90D0-DE3E-4713-B566-C06C7B4F28DA}" type="datetime3">
              <a:rPr lang="nb-NO" smtClean="0"/>
              <a:t>2024.02.14</a:t>
            </a:fld>
            <a:endParaRPr lang="nb-NO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B171DC7-E390-D8DD-AF22-4149310183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582" y="622300"/>
            <a:ext cx="10994400" cy="4946650"/>
          </a:xfrm>
        </p:spPr>
        <p:txBody>
          <a:bodyPr anchor="t" anchorCtr="0"/>
          <a:lstStyle>
            <a:lvl1pPr indent="1368000">
              <a:lnSpc>
                <a:spcPct val="80000"/>
              </a:lnSpc>
              <a:spcBef>
                <a:spcPts val="1000"/>
              </a:spcBef>
              <a:defRPr sz="13400"/>
            </a:lvl1pPr>
          </a:lstStyle>
          <a:p>
            <a:r>
              <a:rPr lang="nb-NO" dirty="0"/>
              <a:t>Click to add a quote</a:t>
            </a:r>
            <a:endParaRPr lang="nb-NO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553022F-08BC-AD53-9011-5A4AA9F2AD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0582" y="5568951"/>
            <a:ext cx="10994400" cy="619124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Gjensidige Type" pitchFamily="50" charset="0"/>
                <a:ea typeface="Arial" pitchFamily="34" charset="0"/>
              </a:defRPr>
            </a:lvl1pPr>
          </a:lstStyle>
          <a:p>
            <a:pPr marL="0" marR="0" lvl="0" indent="0" algn="l" defTabSz="914446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Click to add name or sourc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401074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157" userDrawn="1">
          <p15:clr>
            <a:srgbClr val="A4A3A4"/>
          </p15:clr>
        </p15:guide>
        <p15:guide id="5" orient="horz" pos="3508" userDrawn="1">
          <p15:clr>
            <a:srgbClr val="A4A3A4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Gree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8" hidden="1">
            <a:extLst>
              <a:ext uri="{FF2B5EF4-FFF2-40B4-BE49-F238E27FC236}">
                <a16:creationId xmlns:a16="http://schemas.microsoft.com/office/drawing/2014/main" id="{9031C960-6ED4-E6D4-4F86-1E0683ABED4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Gjensidige Forsikring Group</a:t>
            </a:r>
          </a:p>
        </p:txBody>
      </p:sp>
      <p:sp>
        <p:nvSpPr>
          <p:cNvPr id="5" name="Slide Number Placeholder 10" hidden="1">
            <a:extLst>
              <a:ext uri="{FF2B5EF4-FFF2-40B4-BE49-F238E27FC236}">
                <a16:creationId xmlns:a16="http://schemas.microsoft.com/office/drawing/2014/main" id="{F598570A-8EDB-3E4D-F453-194E23082EF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6" name="Date Placeholder 6" hidden="1">
            <a:extLst>
              <a:ext uri="{FF2B5EF4-FFF2-40B4-BE49-F238E27FC236}">
                <a16:creationId xmlns:a16="http://schemas.microsoft.com/office/drawing/2014/main" id="{46F634AC-1872-CA0D-6BC7-AB84807D576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BB0F90D0-DE3E-4713-B566-C06C7B4F28DA}" type="datetime3">
              <a:rPr lang="nb-NO" smtClean="0"/>
              <a:t>2024.02.14</a:t>
            </a:fld>
            <a:endParaRPr lang="nb-NO"/>
          </a:p>
        </p:txBody>
      </p:sp>
      <p:sp>
        <p:nvSpPr>
          <p:cNvPr id="2" name="Background">
            <a:extLst>
              <a:ext uri="{FF2B5EF4-FFF2-40B4-BE49-F238E27FC236}">
                <a16:creationId xmlns:a16="http://schemas.microsoft.com/office/drawing/2014/main" id="{50241620-0664-B9FC-94B8-323D444BDB2C}"/>
              </a:ext>
            </a:extLst>
          </p:cNvPr>
          <p:cNvSpPr/>
          <p:nvPr userDrawn="1"/>
        </p:nvSpPr>
        <p:spPr bwMode="white">
          <a:xfrm>
            <a:off x="0" y="0"/>
            <a:ext cx="12193200" cy="6858000"/>
          </a:xfrm>
          <a:prstGeom prst="rect">
            <a:avLst/>
          </a:prstGeom>
          <a:solidFill>
            <a:srgbClr val="82E3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0" tIns="270000" rIns="270000" bIns="270000" rtlCol="0" anchor="ctr"/>
          <a:lstStyle/>
          <a:p>
            <a:pPr algn="ctr"/>
            <a:endParaRPr lang="nb-NO" sz="1600" noProof="0">
              <a:solidFill>
                <a:schemeClr val="bg1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F587FF3-C7CF-5988-2938-2616071D6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582" y="622300"/>
            <a:ext cx="10994400" cy="4946650"/>
          </a:xfrm>
        </p:spPr>
        <p:txBody>
          <a:bodyPr anchor="t" anchorCtr="0"/>
          <a:lstStyle>
            <a:lvl1pPr indent="1368000">
              <a:lnSpc>
                <a:spcPct val="80000"/>
              </a:lnSpc>
              <a:spcBef>
                <a:spcPts val="1000"/>
              </a:spcBef>
              <a:defRPr sz="13400"/>
            </a:lvl1pPr>
          </a:lstStyle>
          <a:p>
            <a:r>
              <a:rPr lang="nb-NO" dirty="0"/>
              <a:t>Click to add a quote</a:t>
            </a:r>
            <a:endParaRPr lang="nb-NO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553022F-08BC-AD53-9011-5A4AA9F2AD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0582" y="5568951"/>
            <a:ext cx="10994400" cy="619124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Gjensidige Type" pitchFamily="50" charset="0"/>
                <a:ea typeface="Arial" pitchFamily="34" charset="0"/>
              </a:defRPr>
            </a:lvl1pPr>
          </a:lstStyle>
          <a:p>
            <a:pPr marL="0" marR="0" lvl="0" indent="0" algn="l" defTabSz="914446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Click to add name or sourc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228994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157" userDrawn="1">
          <p15:clr>
            <a:srgbClr val="A4A3A4"/>
          </p15:clr>
        </p15:guide>
        <p15:guide id="5" orient="horz" pos="3508" userDrawn="1">
          <p15:clr>
            <a:srgbClr val="A4A3A4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Light Blue">
    <p:bg>
      <p:bgPr>
        <a:solidFill>
          <a:srgbClr val="BDD3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8" hidden="1">
            <a:extLst>
              <a:ext uri="{FF2B5EF4-FFF2-40B4-BE49-F238E27FC236}">
                <a16:creationId xmlns:a16="http://schemas.microsoft.com/office/drawing/2014/main" id="{038A70B4-2340-1803-6FDC-AFF425616E4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Gjensidige Forsikring Group</a:t>
            </a:r>
          </a:p>
        </p:txBody>
      </p:sp>
      <p:sp>
        <p:nvSpPr>
          <p:cNvPr id="5" name="Slide Number Placeholder 10" hidden="1">
            <a:extLst>
              <a:ext uri="{FF2B5EF4-FFF2-40B4-BE49-F238E27FC236}">
                <a16:creationId xmlns:a16="http://schemas.microsoft.com/office/drawing/2014/main" id="{6F2DE29D-D69F-08BC-25C2-71B041DE07B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6" name="Date Placeholder 6" hidden="1">
            <a:extLst>
              <a:ext uri="{FF2B5EF4-FFF2-40B4-BE49-F238E27FC236}">
                <a16:creationId xmlns:a16="http://schemas.microsoft.com/office/drawing/2014/main" id="{163540ED-1F62-9535-28CF-B9115D45496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BB0F90D0-DE3E-4713-B566-C06C7B4F28DA}" type="datetime3">
              <a:rPr lang="nb-NO" smtClean="0"/>
              <a:t>2024.02.14</a:t>
            </a:fld>
            <a:endParaRPr lang="nb-NO"/>
          </a:p>
        </p:txBody>
      </p:sp>
      <p:sp>
        <p:nvSpPr>
          <p:cNvPr id="2" name="Background">
            <a:extLst>
              <a:ext uri="{FF2B5EF4-FFF2-40B4-BE49-F238E27FC236}">
                <a16:creationId xmlns:a16="http://schemas.microsoft.com/office/drawing/2014/main" id="{50241620-0664-B9FC-94B8-323D444BDB2C}"/>
              </a:ext>
            </a:extLst>
          </p:cNvPr>
          <p:cNvSpPr/>
          <p:nvPr userDrawn="1"/>
        </p:nvSpPr>
        <p:spPr bwMode="white">
          <a:xfrm>
            <a:off x="0" y="0"/>
            <a:ext cx="12193200" cy="6858000"/>
          </a:xfrm>
          <a:prstGeom prst="rect">
            <a:avLst/>
          </a:prstGeom>
          <a:solidFill>
            <a:srgbClr val="BDD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0" tIns="270000" rIns="270000" bIns="270000" rtlCol="0" anchor="ctr"/>
          <a:lstStyle/>
          <a:p>
            <a:pPr algn="ctr"/>
            <a:endParaRPr lang="nb-NO" sz="1600" noProof="0">
              <a:solidFill>
                <a:schemeClr val="bg1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BBAA851-F6B8-BA19-E820-81E52DF7D2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582" y="622300"/>
            <a:ext cx="10994400" cy="4946650"/>
          </a:xfrm>
        </p:spPr>
        <p:txBody>
          <a:bodyPr anchor="t" anchorCtr="0"/>
          <a:lstStyle>
            <a:lvl1pPr indent="1368000">
              <a:lnSpc>
                <a:spcPct val="80000"/>
              </a:lnSpc>
              <a:spcBef>
                <a:spcPts val="1000"/>
              </a:spcBef>
              <a:defRPr sz="13400"/>
            </a:lvl1pPr>
          </a:lstStyle>
          <a:p>
            <a:r>
              <a:rPr lang="nb-NO" dirty="0"/>
              <a:t>Click to add a quote</a:t>
            </a:r>
            <a:endParaRPr lang="nb-NO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553022F-08BC-AD53-9011-5A4AA9F2AD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0582" y="5568951"/>
            <a:ext cx="10994400" cy="619124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Gjensidige Type" pitchFamily="50" charset="0"/>
                <a:ea typeface="Arial" pitchFamily="34" charset="0"/>
              </a:defRPr>
            </a:lvl1pPr>
          </a:lstStyle>
          <a:p>
            <a:pPr marL="0" marR="0" lvl="0" indent="0" algn="l" defTabSz="914446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Click to add name or sourc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527560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157" userDrawn="1">
          <p15:clr>
            <a:srgbClr val="A4A3A4"/>
          </p15:clr>
        </p15:guide>
        <p15:guide id="5" orient="horz" pos="3508" userDrawn="1">
          <p15:clr>
            <a:srgbClr val="A4A3A4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Light Brown">
    <p:bg>
      <p:bgPr>
        <a:solidFill>
          <a:srgbClr val="D0CA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8" hidden="1">
            <a:extLst>
              <a:ext uri="{FF2B5EF4-FFF2-40B4-BE49-F238E27FC236}">
                <a16:creationId xmlns:a16="http://schemas.microsoft.com/office/drawing/2014/main" id="{1B3A1672-76F6-0B07-7C83-A012903BF93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Gjensidige Forsikring Group</a:t>
            </a:r>
          </a:p>
        </p:txBody>
      </p:sp>
      <p:sp>
        <p:nvSpPr>
          <p:cNvPr id="5" name="Slide Number Placeholder 10" hidden="1">
            <a:extLst>
              <a:ext uri="{FF2B5EF4-FFF2-40B4-BE49-F238E27FC236}">
                <a16:creationId xmlns:a16="http://schemas.microsoft.com/office/drawing/2014/main" id="{6F7425DD-5441-AD18-1319-BCCA5510BD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6" name="Date Placeholder 6" hidden="1">
            <a:extLst>
              <a:ext uri="{FF2B5EF4-FFF2-40B4-BE49-F238E27FC236}">
                <a16:creationId xmlns:a16="http://schemas.microsoft.com/office/drawing/2014/main" id="{A57D78D1-5E80-F016-7B1A-2B6B94352AB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BB0F90D0-DE3E-4713-B566-C06C7B4F28DA}" type="datetime3">
              <a:rPr lang="nb-NO" smtClean="0"/>
              <a:t>2024.02.14</a:t>
            </a:fld>
            <a:endParaRPr lang="nb-NO"/>
          </a:p>
        </p:txBody>
      </p:sp>
      <p:sp>
        <p:nvSpPr>
          <p:cNvPr id="2" name="Background">
            <a:extLst>
              <a:ext uri="{FF2B5EF4-FFF2-40B4-BE49-F238E27FC236}">
                <a16:creationId xmlns:a16="http://schemas.microsoft.com/office/drawing/2014/main" id="{50241620-0664-B9FC-94B8-323D444BDB2C}"/>
              </a:ext>
            </a:extLst>
          </p:cNvPr>
          <p:cNvSpPr/>
          <p:nvPr userDrawn="1"/>
        </p:nvSpPr>
        <p:spPr bwMode="white">
          <a:xfrm>
            <a:off x="0" y="0"/>
            <a:ext cx="12193200" cy="6858000"/>
          </a:xfrm>
          <a:prstGeom prst="rect">
            <a:avLst/>
          </a:prstGeom>
          <a:solidFill>
            <a:srgbClr val="D0CA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0" tIns="270000" rIns="270000" bIns="270000" rtlCol="0" anchor="ctr"/>
          <a:lstStyle/>
          <a:p>
            <a:pPr algn="ctr"/>
            <a:endParaRPr lang="nb-NO" sz="1600" noProof="0">
              <a:solidFill>
                <a:schemeClr val="bg1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175C7D31-DCA2-D899-FC38-81A7CE4FB0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582" y="622300"/>
            <a:ext cx="10994400" cy="4946650"/>
          </a:xfrm>
        </p:spPr>
        <p:txBody>
          <a:bodyPr anchor="t" anchorCtr="0"/>
          <a:lstStyle>
            <a:lvl1pPr indent="1368000">
              <a:lnSpc>
                <a:spcPct val="80000"/>
              </a:lnSpc>
              <a:spcBef>
                <a:spcPts val="1000"/>
              </a:spcBef>
              <a:defRPr sz="13400"/>
            </a:lvl1pPr>
          </a:lstStyle>
          <a:p>
            <a:r>
              <a:rPr lang="nb-NO" dirty="0"/>
              <a:t>Click to add a quote</a:t>
            </a:r>
            <a:endParaRPr lang="nb-NO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553022F-08BC-AD53-9011-5A4AA9F2AD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0582" y="5568951"/>
            <a:ext cx="10994400" cy="619124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Gjensidige Type" pitchFamily="50" charset="0"/>
                <a:ea typeface="Arial" pitchFamily="34" charset="0"/>
              </a:defRPr>
            </a:lvl1pPr>
          </a:lstStyle>
          <a:p>
            <a:pPr marL="0" marR="0" lvl="0" indent="0" algn="l" defTabSz="914446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Click to add name or sourc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75128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157" userDrawn="1">
          <p15:clr>
            <a:srgbClr val="A4A3A4"/>
          </p15:clr>
        </p15:guide>
        <p15:guide id="5" orient="horz" pos="3508" userDrawn="1">
          <p15:clr>
            <a:srgbClr val="A4A3A4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Red">
    <p:bg>
      <p:bgPr>
        <a:solidFill>
          <a:srgbClr val="FFA8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8" hidden="1">
            <a:extLst>
              <a:ext uri="{FF2B5EF4-FFF2-40B4-BE49-F238E27FC236}">
                <a16:creationId xmlns:a16="http://schemas.microsoft.com/office/drawing/2014/main" id="{758E40C4-80A1-0DCD-7948-AC3CB1CB828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Gjensidige Forsikring Group</a:t>
            </a:r>
          </a:p>
        </p:txBody>
      </p:sp>
      <p:sp>
        <p:nvSpPr>
          <p:cNvPr id="5" name="Slide Number Placeholder 10" hidden="1">
            <a:extLst>
              <a:ext uri="{FF2B5EF4-FFF2-40B4-BE49-F238E27FC236}">
                <a16:creationId xmlns:a16="http://schemas.microsoft.com/office/drawing/2014/main" id="{747B7FDD-9CFD-608D-7E3B-E6203F9D5B2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6" name="Date Placeholder 6" hidden="1">
            <a:extLst>
              <a:ext uri="{FF2B5EF4-FFF2-40B4-BE49-F238E27FC236}">
                <a16:creationId xmlns:a16="http://schemas.microsoft.com/office/drawing/2014/main" id="{C6E1D070-08F1-D8CA-395C-45B9033470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BB0F90D0-DE3E-4713-B566-C06C7B4F28DA}" type="datetime3">
              <a:rPr lang="nb-NO" smtClean="0"/>
              <a:t>2024.02.14</a:t>
            </a:fld>
            <a:endParaRPr lang="nb-NO"/>
          </a:p>
        </p:txBody>
      </p:sp>
      <p:sp>
        <p:nvSpPr>
          <p:cNvPr id="2" name="Background">
            <a:extLst>
              <a:ext uri="{FF2B5EF4-FFF2-40B4-BE49-F238E27FC236}">
                <a16:creationId xmlns:a16="http://schemas.microsoft.com/office/drawing/2014/main" id="{50241620-0664-B9FC-94B8-323D444BDB2C}"/>
              </a:ext>
            </a:extLst>
          </p:cNvPr>
          <p:cNvSpPr/>
          <p:nvPr userDrawn="1"/>
        </p:nvSpPr>
        <p:spPr bwMode="white">
          <a:xfrm>
            <a:off x="0" y="0"/>
            <a:ext cx="12193200" cy="6858000"/>
          </a:xfrm>
          <a:prstGeom prst="rect">
            <a:avLst/>
          </a:prstGeom>
          <a:solidFill>
            <a:srgbClr val="FFA8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0" tIns="270000" rIns="270000" bIns="270000" rtlCol="0" anchor="ctr"/>
          <a:lstStyle/>
          <a:p>
            <a:pPr algn="ctr"/>
            <a:endParaRPr lang="nb-NO" sz="1600" noProof="0">
              <a:solidFill>
                <a:schemeClr val="bg1"/>
              </a:solidFill>
            </a:endParaRPr>
          </a:p>
        </p:txBody>
      </p:sp>
      <p:sp>
        <p:nvSpPr>
          <p:cNvPr id="8" name="Title 6">
            <a:extLst>
              <a:ext uri="{FF2B5EF4-FFF2-40B4-BE49-F238E27FC236}">
                <a16:creationId xmlns:a16="http://schemas.microsoft.com/office/drawing/2014/main" id="{D939F4C5-894E-6957-939E-E4FECDEC6F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582" y="622300"/>
            <a:ext cx="10994400" cy="4946650"/>
          </a:xfrm>
        </p:spPr>
        <p:txBody>
          <a:bodyPr anchor="t" anchorCtr="0"/>
          <a:lstStyle>
            <a:lvl1pPr indent="1368000">
              <a:lnSpc>
                <a:spcPct val="80000"/>
              </a:lnSpc>
              <a:spcBef>
                <a:spcPts val="1000"/>
              </a:spcBef>
              <a:defRPr sz="13400"/>
            </a:lvl1pPr>
          </a:lstStyle>
          <a:p>
            <a:r>
              <a:rPr lang="nb-NO" dirty="0"/>
              <a:t>Click to add a quote</a:t>
            </a:r>
            <a:endParaRPr lang="nb-NO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553022F-08BC-AD53-9011-5A4AA9F2AD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0582" y="5568951"/>
            <a:ext cx="10994400" cy="619124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Gjensidige Type" pitchFamily="50" charset="0"/>
                <a:ea typeface="Arial" pitchFamily="34" charset="0"/>
              </a:defRPr>
            </a:lvl1pPr>
          </a:lstStyle>
          <a:p>
            <a:pPr marL="0" marR="0" lvl="0" indent="0" algn="l" defTabSz="914446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Click to add name or sourc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814208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157" userDrawn="1">
          <p15:clr>
            <a:srgbClr val="A4A3A4"/>
          </p15:clr>
        </p15:guide>
        <p15:guide id="5" orient="horz" pos="3508" userDrawn="1">
          <p15:clr>
            <a:srgbClr val="A4A3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rgbClr val="CBBB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8" hidden="1">
            <a:extLst>
              <a:ext uri="{FF2B5EF4-FFF2-40B4-BE49-F238E27FC236}">
                <a16:creationId xmlns:a16="http://schemas.microsoft.com/office/drawing/2014/main" id="{7331AECC-3526-EE77-8448-6D0589C41B8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Gjensidige Forsikring Group</a:t>
            </a:r>
          </a:p>
        </p:txBody>
      </p:sp>
      <p:sp>
        <p:nvSpPr>
          <p:cNvPr id="8" name="Slide Number Placeholder 10" hidden="1">
            <a:extLst>
              <a:ext uri="{FF2B5EF4-FFF2-40B4-BE49-F238E27FC236}">
                <a16:creationId xmlns:a16="http://schemas.microsoft.com/office/drawing/2014/main" id="{C3B6841F-4373-22E4-5A53-BB21893B2E5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75156CB1-95B8-36FA-1930-B66F6F7898C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BB0F90D0-DE3E-4713-B566-C06C7B4F28DA}" type="datetime3">
              <a:rPr lang="nb-NO" smtClean="0"/>
              <a:t>2024.02.14</a:t>
            </a:fld>
            <a:endParaRPr lang="nb-NO"/>
          </a:p>
        </p:txBody>
      </p:sp>
      <p:sp>
        <p:nvSpPr>
          <p:cNvPr id="2" name="Background">
            <a:extLst>
              <a:ext uri="{FF2B5EF4-FFF2-40B4-BE49-F238E27FC236}">
                <a16:creationId xmlns:a16="http://schemas.microsoft.com/office/drawing/2014/main" id="{CF1917A0-C954-8995-60DB-27A81766D135}"/>
              </a:ext>
            </a:extLst>
          </p:cNvPr>
          <p:cNvSpPr/>
          <p:nvPr userDrawn="1"/>
        </p:nvSpPr>
        <p:spPr bwMode="white">
          <a:xfrm>
            <a:off x="0" y="0"/>
            <a:ext cx="12193200" cy="6858000"/>
          </a:xfrm>
          <a:prstGeom prst="rect">
            <a:avLst/>
          </a:prstGeom>
          <a:solidFill>
            <a:srgbClr val="CBBB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0" tIns="270000" rIns="270000" bIns="270000" rtlCol="0" anchor="ctr"/>
          <a:lstStyle/>
          <a:p>
            <a:pPr algn="ctr"/>
            <a:endParaRPr lang="nb-NO" sz="1600" noProof="0">
              <a:solidFill>
                <a:schemeClr val="bg1"/>
              </a:solidFill>
            </a:endParaRPr>
          </a:p>
        </p:txBody>
      </p:sp>
      <p:sp>
        <p:nvSpPr>
          <p:cNvPr id="5" name="Plassholder for tekst 2">
            <a:extLst>
              <a:ext uri="{FF2B5EF4-FFF2-40B4-BE49-F238E27FC236}">
                <a16:creationId xmlns:a16="http://schemas.microsoft.com/office/drawing/2014/main" id="{7791CBE7-FE0B-9A69-E219-3F955B6927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0108" y="1952620"/>
            <a:ext cx="11679893" cy="4155218"/>
          </a:xfrm>
          <a:prstGeom prst="rect">
            <a:avLst/>
          </a:prstGeom>
        </p:spPr>
        <p:txBody>
          <a:bodyPr lIns="0" tIns="0" rIns="0" bIns="0" numCol="2" spcCol="334800"/>
          <a:lstStyle>
            <a:lvl1pPr marL="630000" indent="-630000">
              <a:lnSpc>
                <a:spcPct val="100000"/>
              </a:lnSpc>
              <a:spcBef>
                <a:spcPts val="1100"/>
              </a:spcBef>
              <a:buFont typeface="+mj-lt"/>
              <a:buAutoNum type="arabicPeriod"/>
              <a:defRPr sz="2400">
                <a:solidFill>
                  <a:schemeClr val="tx2"/>
                </a:solidFill>
              </a:defRPr>
            </a:lvl1pPr>
            <a:lvl2pPr marL="810000" indent="-1800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>
                <a:solidFill>
                  <a:schemeClr val="tx2"/>
                </a:solidFill>
              </a:defRPr>
            </a:lvl2pPr>
            <a:lvl3pPr marL="810000" indent="-1800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b="0">
                <a:solidFill>
                  <a:schemeClr val="tx2"/>
                </a:solidFill>
              </a:defRPr>
            </a:lvl3pPr>
            <a:lvl4pPr marL="810000" indent="-1800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b="0">
                <a:solidFill>
                  <a:schemeClr val="tx2"/>
                </a:solidFill>
              </a:defRPr>
            </a:lvl4pPr>
            <a:lvl5pPr marL="810000" indent="-1800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b="0">
                <a:solidFill>
                  <a:schemeClr val="tx2"/>
                </a:solidFill>
              </a:defRPr>
            </a:lvl5pPr>
            <a:lvl6pPr marL="810000" indent="-1800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b="0">
                <a:solidFill>
                  <a:schemeClr val="tx2"/>
                </a:solidFill>
              </a:defRPr>
            </a:lvl6pPr>
            <a:lvl7pPr marL="810000" indent="-1800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b="0">
                <a:solidFill>
                  <a:schemeClr val="tx2"/>
                </a:solidFill>
              </a:defRPr>
            </a:lvl7pPr>
            <a:lvl8pPr marL="810000" indent="-1800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b="0">
                <a:solidFill>
                  <a:schemeClr val="tx2"/>
                </a:solidFill>
              </a:defRPr>
            </a:lvl8pPr>
            <a:lvl9pPr marL="810000" indent="-1800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b="0">
                <a:solidFill>
                  <a:schemeClr val="tx2"/>
                </a:solidFill>
              </a:defRPr>
            </a:lvl9pPr>
          </a:lstStyle>
          <a:p>
            <a:pPr lvl="0"/>
            <a:r>
              <a:rPr lang="nb-NO" noProof="0" dirty="0"/>
              <a:t>Click to add agenda point                                                                                                      Enter &amp; TAB to view next text style                                                                                SHIFT+TAB to view previous text style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17CDB8CD-BD2E-5F1F-2EEE-DEED163F2326}"/>
              </a:ext>
            </a:extLst>
          </p:cNvPr>
          <p:cNvSpPr txBox="1"/>
          <p:nvPr userDrawn="1"/>
        </p:nvSpPr>
        <p:spPr>
          <a:xfrm>
            <a:off x="260108" y="-3915654"/>
            <a:ext cx="11679893" cy="3820405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101000"/>
              </a:lnSpc>
            </a:pPr>
            <a:r>
              <a:rPr lang="nb-NO" sz="25610">
                <a:solidFill>
                  <a:schemeClr val="dk2"/>
                </a:solidFill>
                <a:latin typeface="+mj-lt"/>
              </a:rPr>
              <a:t>Agenda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6795773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indefinite"/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"/>
                                      </p:to>
                                    </p:set>
                                    <p:animEffect filter="image" prLst="opacity: 0">
                                      <p:cBhvr rctx="IE">
                                        <p:cTn id="7" dur="indefinite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42" presetClass="pat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7 1.48148E-6 L -4.16667E-7 0.75 " pathEditMode="relative" rAng="0" ptsTypes="AA">
                                      <p:cBhvr>
                                        <p:cTn id="10" dur="1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7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"/>
                            </p:stCondLst>
                            <p:childTnLst>
                              <p:par>
                                <p:cTn id="12" presetID="9" presetClass="emph" presetSubtype="0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indefinite"/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14" dur="indefinite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path" presetSubtype="0" accel="50000" decel="5000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7 0.75 L -0.00078 0.25972 " pathEditMode="relative" rAng="0" ptsTypes="AA">
                                      <p:cBhvr>
                                        <p:cTn id="18" dur="12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9" y="-24514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2">
            <p:tnLst>
              <p:par>
                <p:cTn presetID="1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3">
            <p:tnLst>
              <p:par>
                <p:cTn presetID="1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4">
            <p:tnLst>
              <p:par>
                <p:cTn presetID="1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5">
            <p:tnLst>
              <p:par>
                <p:cTn presetID="1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6">
            <p:tnLst>
              <p:par>
                <p:cTn presetID="1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7">
            <p:tnLst>
              <p:par>
                <p:cTn presetID="1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8">
            <p:tnLst>
              <p:par>
                <p:cTn presetID="1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9">
            <p:tnLst>
              <p:par>
                <p:cTn presetID="1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3" grpId="0"/>
      <p:bldP spid="3" grpId="1"/>
      <p:bldP spid="3" grpId="2"/>
      <p:bldP spid="3" grpId="3"/>
    </p:bldLst>
  </p:timing>
  <p:extLst>
    <p:ext uri="{DCECCB84-F9BA-43D5-87BE-67443E8EF086}">
      <p15:sldGuideLst xmlns:p15="http://schemas.microsoft.com/office/powerpoint/2012/main">
        <p15:guide id="1" orient="horz" pos="1229" userDrawn="1">
          <p15:clr>
            <a:srgbClr val="A4A3A4"/>
          </p15:clr>
        </p15:guide>
        <p15:guide id="2" orient="horz" pos="3847" userDrawn="1">
          <p15:clr>
            <a:srgbClr val="A4A3A4"/>
          </p15:clr>
        </p15:guide>
        <p15:guide id="3" pos="163" userDrawn="1">
          <p15:clr>
            <a:srgbClr val="A4A3A4"/>
          </p15:clr>
        </p15:guide>
        <p15:guide id="4" pos="7521" userDrawn="1">
          <p15:clr>
            <a:srgbClr val="A4A3A4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8" hidden="1">
            <a:extLst>
              <a:ext uri="{FF2B5EF4-FFF2-40B4-BE49-F238E27FC236}">
                <a16:creationId xmlns:a16="http://schemas.microsoft.com/office/drawing/2014/main" id="{4BAD6DFE-3B1C-1FBB-45D1-BDB24E05A46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Gjensidige Forsikring Group</a:t>
            </a:r>
          </a:p>
        </p:txBody>
      </p:sp>
      <p:sp>
        <p:nvSpPr>
          <p:cNvPr id="5" name="Slide Number Placeholder 10" hidden="1">
            <a:extLst>
              <a:ext uri="{FF2B5EF4-FFF2-40B4-BE49-F238E27FC236}">
                <a16:creationId xmlns:a16="http://schemas.microsoft.com/office/drawing/2014/main" id="{33C34723-07BE-F0DD-8C4D-AA8349B0845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6" name="Date Placeholder 6" hidden="1">
            <a:extLst>
              <a:ext uri="{FF2B5EF4-FFF2-40B4-BE49-F238E27FC236}">
                <a16:creationId xmlns:a16="http://schemas.microsoft.com/office/drawing/2014/main" id="{CFBC3D8B-683E-BAB8-E90E-21192F0C04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BB0F90D0-DE3E-4713-B566-C06C7B4F28DA}" type="datetime3">
              <a:rPr lang="nb-NO" smtClean="0"/>
              <a:t>2024.02.14</a:t>
            </a:fld>
            <a:endParaRPr lang="nb-NO"/>
          </a:p>
        </p:txBody>
      </p:sp>
      <p:sp>
        <p:nvSpPr>
          <p:cNvPr id="2" name="Background">
            <a:extLst>
              <a:ext uri="{FF2B5EF4-FFF2-40B4-BE49-F238E27FC236}">
                <a16:creationId xmlns:a16="http://schemas.microsoft.com/office/drawing/2014/main" id="{50241620-0664-B9FC-94B8-323D444BDB2C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0" tIns="270000" rIns="270000" bIns="270000" rtlCol="0" anchor="ctr"/>
          <a:lstStyle/>
          <a:p>
            <a:pPr algn="ctr"/>
            <a:endParaRPr lang="nb-NO" sz="1600" noProof="0">
              <a:solidFill>
                <a:schemeClr val="bg1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11DDA70-1A22-6636-3C1D-885E9AAA1F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582" y="622300"/>
            <a:ext cx="10994400" cy="4946650"/>
          </a:xfrm>
        </p:spPr>
        <p:txBody>
          <a:bodyPr anchor="t" anchorCtr="0"/>
          <a:lstStyle>
            <a:lvl1pPr indent="1368000">
              <a:lnSpc>
                <a:spcPct val="80000"/>
              </a:lnSpc>
              <a:spcBef>
                <a:spcPts val="1000"/>
              </a:spcBef>
              <a:defRPr sz="13400"/>
            </a:lvl1pPr>
          </a:lstStyle>
          <a:p>
            <a:r>
              <a:rPr lang="nb-NO" dirty="0"/>
              <a:t>Click to add a quote</a:t>
            </a:r>
            <a:endParaRPr lang="nb-NO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553022F-08BC-AD53-9011-5A4AA9F2AD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0582" y="5568951"/>
            <a:ext cx="10994400" cy="619124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090C33"/>
                </a:solidFill>
                <a:latin typeface="Gjensidige Type" pitchFamily="50" charset="0"/>
                <a:ea typeface="Arial" pitchFamily="34" charset="0"/>
              </a:defRPr>
            </a:lvl1pPr>
          </a:lstStyle>
          <a:p>
            <a:pPr marL="0" marR="0" lvl="0" indent="0" algn="l" defTabSz="914446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Click to add name or sourc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647377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157" userDrawn="1">
          <p15:clr>
            <a:srgbClr val="A4A3A4"/>
          </p15:clr>
        </p15:guide>
        <p15:guide id="5" orient="horz" pos="3508" userDrawn="1">
          <p15:clr>
            <a:srgbClr val="A4A3A4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Purple small text">
    <p:bg>
      <p:bgPr>
        <a:solidFill>
          <a:srgbClr val="7C55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8" hidden="1">
            <a:extLst>
              <a:ext uri="{FF2B5EF4-FFF2-40B4-BE49-F238E27FC236}">
                <a16:creationId xmlns:a16="http://schemas.microsoft.com/office/drawing/2014/main" id="{8AEE63CC-4173-3E1E-E550-5148892CC7F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Gjensidige Forsikring Group</a:t>
            </a:r>
          </a:p>
        </p:txBody>
      </p:sp>
      <p:sp>
        <p:nvSpPr>
          <p:cNvPr id="5" name="Slide Number Placeholder 10" hidden="1">
            <a:extLst>
              <a:ext uri="{FF2B5EF4-FFF2-40B4-BE49-F238E27FC236}">
                <a16:creationId xmlns:a16="http://schemas.microsoft.com/office/drawing/2014/main" id="{B951FE21-0872-707A-862C-7C2CD137749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6" name="Date Placeholder 6" hidden="1">
            <a:extLst>
              <a:ext uri="{FF2B5EF4-FFF2-40B4-BE49-F238E27FC236}">
                <a16:creationId xmlns:a16="http://schemas.microsoft.com/office/drawing/2014/main" id="{C38A4A97-66B3-0283-FA0B-2C3426315C4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BB0F90D0-DE3E-4713-B566-C06C7B4F28DA}" type="datetime3">
              <a:rPr lang="nb-NO" smtClean="0"/>
              <a:t>2024.02.14</a:t>
            </a:fld>
            <a:endParaRPr lang="nb-NO"/>
          </a:p>
        </p:txBody>
      </p:sp>
      <p:sp>
        <p:nvSpPr>
          <p:cNvPr id="2" name="Background">
            <a:extLst>
              <a:ext uri="{FF2B5EF4-FFF2-40B4-BE49-F238E27FC236}">
                <a16:creationId xmlns:a16="http://schemas.microsoft.com/office/drawing/2014/main" id="{50241620-0664-B9FC-94B8-323D444BDB2C}"/>
              </a:ext>
            </a:extLst>
          </p:cNvPr>
          <p:cNvSpPr/>
          <p:nvPr userDrawn="1"/>
        </p:nvSpPr>
        <p:spPr bwMode="white">
          <a:xfrm>
            <a:off x="0" y="0"/>
            <a:ext cx="12193200" cy="6858000"/>
          </a:xfrm>
          <a:prstGeom prst="rect">
            <a:avLst/>
          </a:prstGeom>
          <a:solidFill>
            <a:srgbClr val="7C5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0" tIns="270000" rIns="270000" bIns="270000" rtlCol="0" anchor="ctr"/>
          <a:lstStyle/>
          <a:p>
            <a:pPr algn="ctr"/>
            <a:endParaRPr lang="nb-NO" sz="1600" noProof="0">
              <a:solidFill>
                <a:schemeClr val="bg1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1C519B9-1336-EB27-56C7-3BB1A3BCCB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582" y="622800"/>
            <a:ext cx="10994400" cy="4946150"/>
          </a:xfrm>
        </p:spPr>
        <p:txBody>
          <a:bodyPr anchor="t" anchorCtr="0"/>
          <a:lstStyle>
            <a:lvl1pPr indent="1008000">
              <a:lnSpc>
                <a:spcPct val="83000"/>
              </a:lnSpc>
              <a:defRPr sz="9600"/>
            </a:lvl1pPr>
          </a:lstStyle>
          <a:p>
            <a:r>
              <a:rPr lang="nb-NO" dirty="0"/>
              <a:t>Click to add a quote</a:t>
            </a:r>
            <a:endParaRPr lang="nb-NO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553022F-08BC-AD53-9011-5A4AA9F2AD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0582" y="5568951"/>
            <a:ext cx="10994400" cy="619124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Gjensidige Type" pitchFamily="50" charset="0"/>
                <a:ea typeface="Arial" pitchFamily="34" charset="0"/>
              </a:defRPr>
            </a:lvl1pPr>
          </a:lstStyle>
          <a:p>
            <a:pPr marL="0" marR="0" lvl="0" indent="0" algn="l" defTabSz="914446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Click to add name or sourc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951063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157">
          <p15:clr>
            <a:srgbClr val="A4A3A4"/>
          </p15:clr>
        </p15:guide>
        <p15:guide id="5" orient="horz" pos="3508">
          <p15:clr>
            <a:srgbClr val="A4A3A4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Purple white small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8" hidden="1">
            <a:extLst>
              <a:ext uri="{FF2B5EF4-FFF2-40B4-BE49-F238E27FC236}">
                <a16:creationId xmlns:a16="http://schemas.microsoft.com/office/drawing/2014/main" id="{8AEE63CC-4173-3E1E-E550-5148892CC7F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Gjensidige Forsikring Group</a:t>
            </a:r>
          </a:p>
        </p:txBody>
      </p:sp>
      <p:sp>
        <p:nvSpPr>
          <p:cNvPr id="5" name="Slide Number Placeholder 10" hidden="1">
            <a:extLst>
              <a:ext uri="{FF2B5EF4-FFF2-40B4-BE49-F238E27FC236}">
                <a16:creationId xmlns:a16="http://schemas.microsoft.com/office/drawing/2014/main" id="{B951FE21-0872-707A-862C-7C2CD137749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6" name="Date Placeholder 6" hidden="1">
            <a:extLst>
              <a:ext uri="{FF2B5EF4-FFF2-40B4-BE49-F238E27FC236}">
                <a16:creationId xmlns:a16="http://schemas.microsoft.com/office/drawing/2014/main" id="{C38A4A97-66B3-0283-FA0B-2C3426315C4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BB0F90D0-DE3E-4713-B566-C06C7B4F28DA}" type="datetime3">
              <a:rPr lang="nb-NO" smtClean="0"/>
              <a:t>2024.02.14</a:t>
            </a:fld>
            <a:endParaRPr lang="nb-NO"/>
          </a:p>
        </p:txBody>
      </p:sp>
      <p:sp>
        <p:nvSpPr>
          <p:cNvPr id="2" name="Background">
            <a:extLst>
              <a:ext uri="{FF2B5EF4-FFF2-40B4-BE49-F238E27FC236}">
                <a16:creationId xmlns:a16="http://schemas.microsoft.com/office/drawing/2014/main" id="{50241620-0664-B9FC-94B8-323D444BDB2C}"/>
              </a:ext>
            </a:extLst>
          </p:cNvPr>
          <p:cNvSpPr/>
          <p:nvPr userDrawn="1"/>
        </p:nvSpPr>
        <p:spPr bwMode="white">
          <a:xfrm>
            <a:off x="0" y="0"/>
            <a:ext cx="12193200" cy="6858000"/>
          </a:xfrm>
          <a:prstGeom prst="rect">
            <a:avLst/>
          </a:prstGeom>
          <a:solidFill>
            <a:srgbClr val="7C5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0" tIns="270000" rIns="270000" bIns="270000" rtlCol="0" anchor="ctr"/>
          <a:lstStyle/>
          <a:p>
            <a:pPr algn="ctr"/>
            <a:endParaRPr lang="nb-NO" sz="1600" noProof="0">
              <a:solidFill>
                <a:schemeClr val="bg1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1C519B9-1336-EB27-56C7-3BB1A3BCCB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582" y="622800"/>
            <a:ext cx="10994400" cy="4946150"/>
          </a:xfrm>
        </p:spPr>
        <p:txBody>
          <a:bodyPr anchor="t" anchorCtr="0"/>
          <a:lstStyle>
            <a:lvl1pPr indent="1008000">
              <a:lnSpc>
                <a:spcPct val="83000"/>
              </a:lnSpc>
              <a:defRPr sz="9600">
                <a:solidFill>
                  <a:schemeClr val="tx1"/>
                </a:solidFill>
              </a:defRPr>
            </a:lvl1pPr>
          </a:lstStyle>
          <a:p>
            <a:r>
              <a:rPr lang="nb-NO" dirty="0"/>
              <a:t>Click to add a quote</a:t>
            </a:r>
            <a:endParaRPr lang="nb-NO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553022F-08BC-AD53-9011-5A4AA9F2AD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0582" y="5568951"/>
            <a:ext cx="10994400" cy="619124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Gjensidige Type" pitchFamily="50" charset="0"/>
                <a:ea typeface="Arial" pitchFamily="34" charset="0"/>
              </a:defRPr>
            </a:lvl1pPr>
          </a:lstStyle>
          <a:p>
            <a:pPr marL="0" marR="0" lvl="0" indent="0" algn="l" defTabSz="914446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Click to add name or sourc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038083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157">
          <p15:clr>
            <a:srgbClr val="A4A3A4"/>
          </p15:clr>
        </p15:guide>
        <p15:guide id="5" orient="horz" pos="3508">
          <p15:clr>
            <a:srgbClr val="A4A3A4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Dark blue yellow small text">
    <p:bg>
      <p:bgPr>
        <a:solidFill>
          <a:srgbClr val="090C3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8" hidden="1">
            <a:extLst>
              <a:ext uri="{FF2B5EF4-FFF2-40B4-BE49-F238E27FC236}">
                <a16:creationId xmlns:a16="http://schemas.microsoft.com/office/drawing/2014/main" id="{8AEE63CC-4173-3E1E-E550-5148892CC7F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Gjensidige Forsikring Group</a:t>
            </a:r>
          </a:p>
        </p:txBody>
      </p:sp>
      <p:sp>
        <p:nvSpPr>
          <p:cNvPr id="5" name="Slide Number Placeholder 10" hidden="1">
            <a:extLst>
              <a:ext uri="{FF2B5EF4-FFF2-40B4-BE49-F238E27FC236}">
                <a16:creationId xmlns:a16="http://schemas.microsoft.com/office/drawing/2014/main" id="{B951FE21-0872-707A-862C-7C2CD137749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6" name="Date Placeholder 6" hidden="1">
            <a:extLst>
              <a:ext uri="{FF2B5EF4-FFF2-40B4-BE49-F238E27FC236}">
                <a16:creationId xmlns:a16="http://schemas.microsoft.com/office/drawing/2014/main" id="{C38A4A97-66B3-0283-FA0B-2C3426315C4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BB0F90D0-DE3E-4713-B566-C06C7B4F28DA}" type="datetime3">
              <a:rPr lang="nb-NO" smtClean="0"/>
              <a:t>2024.02.14</a:t>
            </a:fld>
            <a:endParaRPr lang="nb-NO"/>
          </a:p>
        </p:txBody>
      </p:sp>
      <p:sp>
        <p:nvSpPr>
          <p:cNvPr id="2" name="Background">
            <a:extLst>
              <a:ext uri="{FF2B5EF4-FFF2-40B4-BE49-F238E27FC236}">
                <a16:creationId xmlns:a16="http://schemas.microsoft.com/office/drawing/2014/main" id="{50241620-0664-B9FC-94B8-323D444BDB2C}"/>
              </a:ext>
            </a:extLst>
          </p:cNvPr>
          <p:cNvSpPr/>
          <p:nvPr userDrawn="1"/>
        </p:nvSpPr>
        <p:spPr bwMode="white">
          <a:xfrm>
            <a:off x="0" y="0"/>
            <a:ext cx="12193200" cy="6858000"/>
          </a:xfrm>
          <a:prstGeom prst="rect">
            <a:avLst/>
          </a:prstGeom>
          <a:solidFill>
            <a:srgbClr val="090C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0" tIns="270000" rIns="270000" bIns="270000" rtlCol="0" anchor="ctr"/>
          <a:lstStyle/>
          <a:p>
            <a:pPr algn="ctr"/>
            <a:endParaRPr lang="nb-NO" sz="1600" noProof="0">
              <a:solidFill>
                <a:schemeClr val="bg1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1C519B9-1336-EB27-56C7-3BB1A3BCCB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582" y="622800"/>
            <a:ext cx="10994400" cy="4946150"/>
          </a:xfrm>
        </p:spPr>
        <p:txBody>
          <a:bodyPr anchor="t" anchorCtr="0"/>
          <a:lstStyle>
            <a:lvl1pPr indent="1008000">
              <a:lnSpc>
                <a:spcPct val="83000"/>
              </a:lnSpc>
              <a:defRPr sz="9600">
                <a:solidFill>
                  <a:srgbClr val="F4FFAF"/>
                </a:solidFill>
              </a:defRPr>
            </a:lvl1pPr>
          </a:lstStyle>
          <a:p>
            <a:r>
              <a:rPr lang="nb-NO" dirty="0"/>
              <a:t>Click to add a quote</a:t>
            </a:r>
            <a:endParaRPr lang="nb-NO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553022F-08BC-AD53-9011-5A4AA9F2AD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0582" y="5568951"/>
            <a:ext cx="10994400" cy="619124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4FFAF"/>
                </a:solidFill>
                <a:latin typeface="Gjensidige Type" pitchFamily="50" charset="0"/>
                <a:ea typeface="Arial" pitchFamily="34" charset="0"/>
              </a:defRPr>
            </a:lvl1pPr>
          </a:lstStyle>
          <a:p>
            <a:pPr marL="0" marR="0" lvl="0" indent="0" algn="l" defTabSz="914446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Click to add name or sourc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455219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157">
          <p15:clr>
            <a:srgbClr val="A4A3A4"/>
          </p15:clr>
        </p15:guide>
        <p15:guide id="5" orient="horz" pos="3508">
          <p15:clr>
            <a:srgbClr val="A4A3A4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Light Purple small text">
    <p:bg>
      <p:bgPr>
        <a:solidFill>
          <a:srgbClr val="CBBB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8" hidden="1">
            <a:extLst>
              <a:ext uri="{FF2B5EF4-FFF2-40B4-BE49-F238E27FC236}">
                <a16:creationId xmlns:a16="http://schemas.microsoft.com/office/drawing/2014/main" id="{8AEE63CC-4173-3E1E-E550-5148892CC7F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Gjensidige Forsikring Group</a:t>
            </a:r>
          </a:p>
        </p:txBody>
      </p:sp>
      <p:sp>
        <p:nvSpPr>
          <p:cNvPr id="5" name="Slide Number Placeholder 10" hidden="1">
            <a:extLst>
              <a:ext uri="{FF2B5EF4-FFF2-40B4-BE49-F238E27FC236}">
                <a16:creationId xmlns:a16="http://schemas.microsoft.com/office/drawing/2014/main" id="{B951FE21-0872-707A-862C-7C2CD137749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6" name="Date Placeholder 6" hidden="1">
            <a:extLst>
              <a:ext uri="{FF2B5EF4-FFF2-40B4-BE49-F238E27FC236}">
                <a16:creationId xmlns:a16="http://schemas.microsoft.com/office/drawing/2014/main" id="{C38A4A97-66B3-0283-FA0B-2C3426315C4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BB0F90D0-DE3E-4713-B566-C06C7B4F28DA}" type="datetime3">
              <a:rPr lang="nb-NO" smtClean="0"/>
              <a:t>2024.02.14</a:t>
            </a:fld>
            <a:endParaRPr lang="nb-NO"/>
          </a:p>
        </p:txBody>
      </p:sp>
      <p:sp>
        <p:nvSpPr>
          <p:cNvPr id="2" name="Background">
            <a:extLst>
              <a:ext uri="{FF2B5EF4-FFF2-40B4-BE49-F238E27FC236}">
                <a16:creationId xmlns:a16="http://schemas.microsoft.com/office/drawing/2014/main" id="{50241620-0664-B9FC-94B8-323D444BDB2C}"/>
              </a:ext>
            </a:extLst>
          </p:cNvPr>
          <p:cNvSpPr/>
          <p:nvPr userDrawn="1"/>
        </p:nvSpPr>
        <p:spPr bwMode="white">
          <a:xfrm>
            <a:off x="0" y="0"/>
            <a:ext cx="12193200" cy="6858000"/>
          </a:xfrm>
          <a:prstGeom prst="rect">
            <a:avLst/>
          </a:prstGeom>
          <a:solidFill>
            <a:srgbClr val="CBBB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0" tIns="270000" rIns="270000" bIns="270000" rtlCol="0" anchor="ctr"/>
          <a:lstStyle/>
          <a:p>
            <a:pPr algn="ctr"/>
            <a:endParaRPr lang="nb-NO" sz="1600" noProof="0">
              <a:solidFill>
                <a:schemeClr val="bg1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1C519B9-1336-EB27-56C7-3BB1A3BCCB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582" y="622800"/>
            <a:ext cx="10994400" cy="4946150"/>
          </a:xfrm>
        </p:spPr>
        <p:txBody>
          <a:bodyPr anchor="t" anchorCtr="0"/>
          <a:lstStyle>
            <a:lvl1pPr indent="1008000">
              <a:lnSpc>
                <a:spcPct val="83000"/>
              </a:lnSpc>
              <a:defRPr sz="9600"/>
            </a:lvl1pPr>
          </a:lstStyle>
          <a:p>
            <a:r>
              <a:rPr lang="nb-NO" dirty="0"/>
              <a:t>Click to add a quote</a:t>
            </a:r>
            <a:endParaRPr lang="nb-NO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553022F-08BC-AD53-9011-5A4AA9F2AD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0582" y="5568951"/>
            <a:ext cx="10994400" cy="619124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Gjensidige Type" pitchFamily="50" charset="0"/>
                <a:ea typeface="Arial" pitchFamily="34" charset="0"/>
              </a:defRPr>
            </a:lvl1pPr>
          </a:lstStyle>
          <a:p>
            <a:pPr marL="0" marR="0" lvl="0" indent="0" algn="l" defTabSz="914446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Click to add name or sourc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208130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157">
          <p15:clr>
            <a:srgbClr val="A4A3A4"/>
          </p15:clr>
        </p15:guide>
        <p15:guide id="5" orient="horz" pos="3508">
          <p15:clr>
            <a:srgbClr val="A4A3A4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Green small text">
    <p:bg>
      <p:bgPr>
        <a:solidFill>
          <a:srgbClr val="82E3B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8" hidden="1">
            <a:extLst>
              <a:ext uri="{FF2B5EF4-FFF2-40B4-BE49-F238E27FC236}">
                <a16:creationId xmlns:a16="http://schemas.microsoft.com/office/drawing/2014/main" id="{8AEE63CC-4173-3E1E-E550-5148892CC7F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Gjensidige Forsikring Group</a:t>
            </a:r>
          </a:p>
        </p:txBody>
      </p:sp>
      <p:sp>
        <p:nvSpPr>
          <p:cNvPr id="5" name="Slide Number Placeholder 10" hidden="1">
            <a:extLst>
              <a:ext uri="{FF2B5EF4-FFF2-40B4-BE49-F238E27FC236}">
                <a16:creationId xmlns:a16="http://schemas.microsoft.com/office/drawing/2014/main" id="{B951FE21-0872-707A-862C-7C2CD137749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6" name="Date Placeholder 6" hidden="1">
            <a:extLst>
              <a:ext uri="{FF2B5EF4-FFF2-40B4-BE49-F238E27FC236}">
                <a16:creationId xmlns:a16="http://schemas.microsoft.com/office/drawing/2014/main" id="{C38A4A97-66B3-0283-FA0B-2C3426315C4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BB0F90D0-DE3E-4713-B566-C06C7B4F28DA}" type="datetime3">
              <a:rPr lang="nb-NO" smtClean="0"/>
              <a:t>2024.02.14</a:t>
            </a:fld>
            <a:endParaRPr lang="nb-NO"/>
          </a:p>
        </p:txBody>
      </p:sp>
      <p:sp>
        <p:nvSpPr>
          <p:cNvPr id="2" name="Background">
            <a:extLst>
              <a:ext uri="{FF2B5EF4-FFF2-40B4-BE49-F238E27FC236}">
                <a16:creationId xmlns:a16="http://schemas.microsoft.com/office/drawing/2014/main" id="{50241620-0664-B9FC-94B8-323D444BDB2C}"/>
              </a:ext>
            </a:extLst>
          </p:cNvPr>
          <p:cNvSpPr/>
          <p:nvPr userDrawn="1"/>
        </p:nvSpPr>
        <p:spPr bwMode="white">
          <a:xfrm>
            <a:off x="0" y="0"/>
            <a:ext cx="12193200" cy="6858000"/>
          </a:xfrm>
          <a:prstGeom prst="rect">
            <a:avLst/>
          </a:prstGeom>
          <a:solidFill>
            <a:srgbClr val="82E3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0" tIns="270000" rIns="270000" bIns="270000" rtlCol="0" anchor="ctr"/>
          <a:lstStyle/>
          <a:p>
            <a:pPr algn="ctr"/>
            <a:endParaRPr lang="nb-NO" sz="1600" noProof="0">
              <a:solidFill>
                <a:schemeClr val="bg1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1C519B9-1336-EB27-56C7-3BB1A3BCCB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582" y="622800"/>
            <a:ext cx="10994400" cy="4946150"/>
          </a:xfrm>
        </p:spPr>
        <p:txBody>
          <a:bodyPr anchor="t" anchorCtr="0"/>
          <a:lstStyle>
            <a:lvl1pPr indent="1008000">
              <a:lnSpc>
                <a:spcPct val="83000"/>
              </a:lnSpc>
              <a:defRPr sz="9600"/>
            </a:lvl1pPr>
          </a:lstStyle>
          <a:p>
            <a:r>
              <a:rPr lang="nb-NO" dirty="0"/>
              <a:t>Click to add a quote</a:t>
            </a:r>
            <a:endParaRPr lang="nb-NO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553022F-08BC-AD53-9011-5A4AA9F2AD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0582" y="5568951"/>
            <a:ext cx="10994400" cy="619124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Gjensidige Type" pitchFamily="50" charset="0"/>
                <a:ea typeface="Arial" pitchFamily="34" charset="0"/>
              </a:defRPr>
            </a:lvl1pPr>
          </a:lstStyle>
          <a:p>
            <a:pPr marL="0" marR="0" lvl="0" indent="0" algn="l" defTabSz="914446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Click to add name or sourc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804940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157">
          <p15:clr>
            <a:srgbClr val="A4A3A4"/>
          </p15:clr>
        </p15:guide>
        <p15:guide id="5" orient="horz" pos="3508">
          <p15:clr>
            <a:srgbClr val="A4A3A4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Light Blue small text">
    <p:bg>
      <p:bgPr>
        <a:solidFill>
          <a:srgbClr val="BDD3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8" hidden="1">
            <a:extLst>
              <a:ext uri="{FF2B5EF4-FFF2-40B4-BE49-F238E27FC236}">
                <a16:creationId xmlns:a16="http://schemas.microsoft.com/office/drawing/2014/main" id="{8AEE63CC-4173-3E1E-E550-5148892CC7F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Gjensidige Forsikring Group</a:t>
            </a:r>
          </a:p>
        </p:txBody>
      </p:sp>
      <p:sp>
        <p:nvSpPr>
          <p:cNvPr id="5" name="Slide Number Placeholder 10" hidden="1">
            <a:extLst>
              <a:ext uri="{FF2B5EF4-FFF2-40B4-BE49-F238E27FC236}">
                <a16:creationId xmlns:a16="http://schemas.microsoft.com/office/drawing/2014/main" id="{B951FE21-0872-707A-862C-7C2CD137749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6" name="Date Placeholder 6" hidden="1">
            <a:extLst>
              <a:ext uri="{FF2B5EF4-FFF2-40B4-BE49-F238E27FC236}">
                <a16:creationId xmlns:a16="http://schemas.microsoft.com/office/drawing/2014/main" id="{C38A4A97-66B3-0283-FA0B-2C3426315C4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BB0F90D0-DE3E-4713-B566-C06C7B4F28DA}" type="datetime3">
              <a:rPr lang="nb-NO" smtClean="0"/>
              <a:t>2024.02.14</a:t>
            </a:fld>
            <a:endParaRPr lang="nb-NO"/>
          </a:p>
        </p:txBody>
      </p:sp>
      <p:sp>
        <p:nvSpPr>
          <p:cNvPr id="2" name="Background">
            <a:extLst>
              <a:ext uri="{FF2B5EF4-FFF2-40B4-BE49-F238E27FC236}">
                <a16:creationId xmlns:a16="http://schemas.microsoft.com/office/drawing/2014/main" id="{50241620-0664-B9FC-94B8-323D444BDB2C}"/>
              </a:ext>
            </a:extLst>
          </p:cNvPr>
          <p:cNvSpPr/>
          <p:nvPr userDrawn="1"/>
        </p:nvSpPr>
        <p:spPr bwMode="white">
          <a:xfrm>
            <a:off x="0" y="0"/>
            <a:ext cx="12193200" cy="6858000"/>
          </a:xfrm>
          <a:prstGeom prst="rect">
            <a:avLst/>
          </a:prstGeom>
          <a:solidFill>
            <a:srgbClr val="BDD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0" tIns="270000" rIns="270000" bIns="270000" rtlCol="0" anchor="ctr"/>
          <a:lstStyle/>
          <a:p>
            <a:pPr algn="ctr"/>
            <a:endParaRPr lang="nb-NO" sz="1600" noProof="0">
              <a:solidFill>
                <a:schemeClr val="bg1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1C519B9-1336-EB27-56C7-3BB1A3BCCB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582" y="622800"/>
            <a:ext cx="10994400" cy="4946150"/>
          </a:xfrm>
        </p:spPr>
        <p:txBody>
          <a:bodyPr anchor="t" anchorCtr="0"/>
          <a:lstStyle>
            <a:lvl1pPr indent="1008000">
              <a:lnSpc>
                <a:spcPct val="83000"/>
              </a:lnSpc>
              <a:defRPr sz="9600"/>
            </a:lvl1pPr>
          </a:lstStyle>
          <a:p>
            <a:r>
              <a:rPr lang="nb-NO" dirty="0"/>
              <a:t>Click to add a quote</a:t>
            </a:r>
            <a:endParaRPr lang="nb-NO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553022F-08BC-AD53-9011-5A4AA9F2AD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0582" y="5568951"/>
            <a:ext cx="10994400" cy="619124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Gjensidige Type" pitchFamily="50" charset="0"/>
                <a:ea typeface="Arial" pitchFamily="34" charset="0"/>
              </a:defRPr>
            </a:lvl1pPr>
          </a:lstStyle>
          <a:p>
            <a:pPr marL="0" marR="0" lvl="0" indent="0" algn="l" defTabSz="914446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Click to add name or sourc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017387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157">
          <p15:clr>
            <a:srgbClr val="A4A3A4"/>
          </p15:clr>
        </p15:guide>
        <p15:guide id="5" orient="horz" pos="3508">
          <p15:clr>
            <a:srgbClr val="A4A3A4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Light Brown small text">
    <p:bg>
      <p:bgPr>
        <a:solidFill>
          <a:srgbClr val="D0CA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8" hidden="1">
            <a:extLst>
              <a:ext uri="{FF2B5EF4-FFF2-40B4-BE49-F238E27FC236}">
                <a16:creationId xmlns:a16="http://schemas.microsoft.com/office/drawing/2014/main" id="{8AEE63CC-4173-3E1E-E550-5148892CC7F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Gjensidige Forsikring Group</a:t>
            </a:r>
          </a:p>
        </p:txBody>
      </p:sp>
      <p:sp>
        <p:nvSpPr>
          <p:cNvPr id="5" name="Slide Number Placeholder 10" hidden="1">
            <a:extLst>
              <a:ext uri="{FF2B5EF4-FFF2-40B4-BE49-F238E27FC236}">
                <a16:creationId xmlns:a16="http://schemas.microsoft.com/office/drawing/2014/main" id="{B951FE21-0872-707A-862C-7C2CD137749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6" name="Date Placeholder 6" hidden="1">
            <a:extLst>
              <a:ext uri="{FF2B5EF4-FFF2-40B4-BE49-F238E27FC236}">
                <a16:creationId xmlns:a16="http://schemas.microsoft.com/office/drawing/2014/main" id="{C38A4A97-66B3-0283-FA0B-2C3426315C4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BB0F90D0-DE3E-4713-B566-C06C7B4F28DA}" type="datetime3">
              <a:rPr lang="nb-NO" smtClean="0"/>
              <a:t>2024.02.14</a:t>
            </a:fld>
            <a:endParaRPr lang="nb-NO"/>
          </a:p>
        </p:txBody>
      </p:sp>
      <p:sp>
        <p:nvSpPr>
          <p:cNvPr id="2" name="Background">
            <a:extLst>
              <a:ext uri="{FF2B5EF4-FFF2-40B4-BE49-F238E27FC236}">
                <a16:creationId xmlns:a16="http://schemas.microsoft.com/office/drawing/2014/main" id="{50241620-0664-B9FC-94B8-323D444BDB2C}"/>
              </a:ext>
            </a:extLst>
          </p:cNvPr>
          <p:cNvSpPr/>
          <p:nvPr userDrawn="1"/>
        </p:nvSpPr>
        <p:spPr bwMode="white">
          <a:xfrm>
            <a:off x="0" y="0"/>
            <a:ext cx="12193200" cy="6858000"/>
          </a:xfrm>
          <a:prstGeom prst="rect">
            <a:avLst/>
          </a:prstGeom>
          <a:solidFill>
            <a:srgbClr val="D0CA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0" tIns="270000" rIns="270000" bIns="270000" rtlCol="0" anchor="ctr"/>
          <a:lstStyle/>
          <a:p>
            <a:pPr algn="ctr"/>
            <a:endParaRPr lang="nb-NO" sz="1600" noProof="0">
              <a:solidFill>
                <a:schemeClr val="bg1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1C519B9-1336-EB27-56C7-3BB1A3BCCB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582" y="622800"/>
            <a:ext cx="10994400" cy="4946150"/>
          </a:xfrm>
        </p:spPr>
        <p:txBody>
          <a:bodyPr anchor="t" anchorCtr="0"/>
          <a:lstStyle>
            <a:lvl1pPr indent="1008000">
              <a:lnSpc>
                <a:spcPct val="83000"/>
              </a:lnSpc>
              <a:defRPr sz="9600"/>
            </a:lvl1pPr>
          </a:lstStyle>
          <a:p>
            <a:r>
              <a:rPr lang="nb-NO" dirty="0"/>
              <a:t>Click to add a quote</a:t>
            </a:r>
            <a:endParaRPr lang="nb-NO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553022F-08BC-AD53-9011-5A4AA9F2AD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0582" y="5568951"/>
            <a:ext cx="10994400" cy="619124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Gjensidige Type" pitchFamily="50" charset="0"/>
                <a:ea typeface="Arial" pitchFamily="34" charset="0"/>
              </a:defRPr>
            </a:lvl1pPr>
          </a:lstStyle>
          <a:p>
            <a:pPr marL="0" marR="0" lvl="0" indent="0" algn="l" defTabSz="914446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Click to add name or sourc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568746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157">
          <p15:clr>
            <a:srgbClr val="A4A3A4"/>
          </p15:clr>
        </p15:guide>
        <p15:guide id="5" orient="horz" pos="3508">
          <p15:clr>
            <a:srgbClr val="A4A3A4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Red small text">
    <p:bg>
      <p:bgPr>
        <a:solidFill>
          <a:srgbClr val="FFA8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8" hidden="1">
            <a:extLst>
              <a:ext uri="{FF2B5EF4-FFF2-40B4-BE49-F238E27FC236}">
                <a16:creationId xmlns:a16="http://schemas.microsoft.com/office/drawing/2014/main" id="{8AEE63CC-4173-3E1E-E550-5148892CC7F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Gjensidige Forsikring Group</a:t>
            </a:r>
          </a:p>
        </p:txBody>
      </p:sp>
      <p:sp>
        <p:nvSpPr>
          <p:cNvPr id="5" name="Slide Number Placeholder 10" hidden="1">
            <a:extLst>
              <a:ext uri="{FF2B5EF4-FFF2-40B4-BE49-F238E27FC236}">
                <a16:creationId xmlns:a16="http://schemas.microsoft.com/office/drawing/2014/main" id="{B951FE21-0872-707A-862C-7C2CD137749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6" name="Date Placeholder 6" hidden="1">
            <a:extLst>
              <a:ext uri="{FF2B5EF4-FFF2-40B4-BE49-F238E27FC236}">
                <a16:creationId xmlns:a16="http://schemas.microsoft.com/office/drawing/2014/main" id="{C38A4A97-66B3-0283-FA0B-2C3426315C4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BB0F90D0-DE3E-4713-B566-C06C7B4F28DA}" type="datetime3">
              <a:rPr lang="nb-NO" smtClean="0"/>
              <a:t>2024.02.14</a:t>
            </a:fld>
            <a:endParaRPr lang="nb-NO"/>
          </a:p>
        </p:txBody>
      </p:sp>
      <p:sp>
        <p:nvSpPr>
          <p:cNvPr id="2" name="Background">
            <a:extLst>
              <a:ext uri="{FF2B5EF4-FFF2-40B4-BE49-F238E27FC236}">
                <a16:creationId xmlns:a16="http://schemas.microsoft.com/office/drawing/2014/main" id="{50241620-0664-B9FC-94B8-323D444BDB2C}"/>
              </a:ext>
            </a:extLst>
          </p:cNvPr>
          <p:cNvSpPr/>
          <p:nvPr userDrawn="1"/>
        </p:nvSpPr>
        <p:spPr bwMode="white">
          <a:xfrm>
            <a:off x="0" y="0"/>
            <a:ext cx="12193200" cy="6858000"/>
          </a:xfrm>
          <a:prstGeom prst="rect">
            <a:avLst/>
          </a:prstGeom>
          <a:solidFill>
            <a:srgbClr val="FFA8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0" tIns="270000" rIns="270000" bIns="270000" rtlCol="0" anchor="ctr"/>
          <a:lstStyle/>
          <a:p>
            <a:pPr algn="ctr"/>
            <a:endParaRPr lang="nb-NO" sz="1600" noProof="0">
              <a:solidFill>
                <a:schemeClr val="bg1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1C519B9-1336-EB27-56C7-3BB1A3BCCB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582" y="622800"/>
            <a:ext cx="10994400" cy="4946150"/>
          </a:xfrm>
        </p:spPr>
        <p:txBody>
          <a:bodyPr anchor="t" anchorCtr="0"/>
          <a:lstStyle>
            <a:lvl1pPr indent="1008000">
              <a:lnSpc>
                <a:spcPct val="83000"/>
              </a:lnSpc>
              <a:defRPr sz="9600"/>
            </a:lvl1pPr>
          </a:lstStyle>
          <a:p>
            <a:r>
              <a:rPr lang="nb-NO" dirty="0"/>
              <a:t>Click to add a quote</a:t>
            </a:r>
            <a:endParaRPr lang="nb-NO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553022F-08BC-AD53-9011-5A4AA9F2AD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0582" y="5568951"/>
            <a:ext cx="10994400" cy="619124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Gjensidige Type" pitchFamily="50" charset="0"/>
                <a:ea typeface="Arial" pitchFamily="34" charset="0"/>
              </a:defRPr>
            </a:lvl1pPr>
          </a:lstStyle>
          <a:p>
            <a:pPr marL="0" marR="0" lvl="0" indent="0" algn="l" defTabSz="914446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Click to add name or sourc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204191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157">
          <p15:clr>
            <a:srgbClr val="A4A3A4"/>
          </p15:clr>
        </p15:guide>
        <p15:guide id="5" orient="horz" pos="3508">
          <p15:clr>
            <a:srgbClr val="A4A3A4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White small 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8" hidden="1">
            <a:extLst>
              <a:ext uri="{FF2B5EF4-FFF2-40B4-BE49-F238E27FC236}">
                <a16:creationId xmlns:a16="http://schemas.microsoft.com/office/drawing/2014/main" id="{8AEE63CC-4173-3E1E-E550-5148892CC7F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Gjensidige Forsikring Group</a:t>
            </a:r>
          </a:p>
        </p:txBody>
      </p:sp>
      <p:sp>
        <p:nvSpPr>
          <p:cNvPr id="5" name="Slide Number Placeholder 10" hidden="1">
            <a:extLst>
              <a:ext uri="{FF2B5EF4-FFF2-40B4-BE49-F238E27FC236}">
                <a16:creationId xmlns:a16="http://schemas.microsoft.com/office/drawing/2014/main" id="{B951FE21-0872-707A-862C-7C2CD137749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6" name="Date Placeholder 6" hidden="1">
            <a:extLst>
              <a:ext uri="{FF2B5EF4-FFF2-40B4-BE49-F238E27FC236}">
                <a16:creationId xmlns:a16="http://schemas.microsoft.com/office/drawing/2014/main" id="{C38A4A97-66B3-0283-FA0B-2C3426315C4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BB0F90D0-DE3E-4713-B566-C06C7B4F28DA}" type="datetime3">
              <a:rPr lang="nb-NO" smtClean="0"/>
              <a:t>2024.02.14</a:t>
            </a:fld>
            <a:endParaRPr lang="nb-NO"/>
          </a:p>
        </p:txBody>
      </p:sp>
      <p:sp>
        <p:nvSpPr>
          <p:cNvPr id="2" name="Background">
            <a:extLst>
              <a:ext uri="{FF2B5EF4-FFF2-40B4-BE49-F238E27FC236}">
                <a16:creationId xmlns:a16="http://schemas.microsoft.com/office/drawing/2014/main" id="{50241620-0664-B9FC-94B8-323D444BDB2C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0" tIns="270000" rIns="270000" bIns="270000" rtlCol="0" anchor="ctr"/>
          <a:lstStyle/>
          <a:p>
            <a:pPr algn="ctr"/>
            <a:endParaRPr lang="nb-NO" sz="1600" noProof="0">
              <a:solidFill>
                <a:schemeClr val="bg1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1C519B9-1336-EB27-56C7-3BB1A3BCCB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582" y="622800"/>
            <a:ext cx="10994400" cy="4946150"/>
          </a:xfrm>
        </p:spPr>
        <p:txBody>
          <a:bodyPr anchor="t" anchorCtr="0"/>
          <a:lstStyle>
            <a:lvl1pPr indent="1008000">
              <a:lnSpc>
                <a:spcPct val="83000"/>
              </a:lnSpc>
              <a:defRPr sz="9600"/>
            </a:lvl1pPr>
          </a:lstStyle>
          <a:p>
            <a:r>
              <a:rPr lang="nb-NO" dirty="0"/>
              <a:t>Click to add a quote</a:t>
            </a:r>
            <a:endParaRPr lang="nb-NO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553022F-08BC-AD53-9011-5A4AA9F2AD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0582" y="5568951"/>
            <a:ext cx="10994400" cy="619124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2000">
                <a:solidFill>
                  <a:schemeClr val="bg1"/>
                </a:solidFill>
                <a:latin typeface="Gjensidige Type" pitchFamily="50" charset="0"/>
                <a:ea typeface="Arial" pitchFamily="34" charset="0"/>
              </a:defRPr>
            </a:lvl1pPr>
          </a:lstStyle>
          <a:p>
            <a:pPr marL="0" marR="0" lvl="0" indent="0" algn="l" defTabSz="914446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Click to add name or sourc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574974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157">
          <p15:clr>
            <a:srgbClr val="A4A3A4"/>
          </p15:clr>
        </p15:guide>
        <p15:guide id="5" orient="horz" pos="3508">
          <p15:clr>
            <a:srgbClr val="A4A3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Illustration/photo">
    <p:bg>
      <p:bgPr>
        <a:solidFill>
          <a:srgbClr val="CBBB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8" hidden="1">
            <a:extLst>
              <a:ext uri="{FF2B5EF4-FFF2-40B4-BE49-F238E27FC236}">
                <a16:creationId xmlns:a16="http://schemas.microsoft.com/office/drawing/2014/main" id="{150F31E0-EC88-54F4-98F7-64B4EEE0406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Gjensidige Forsikring Group</a:t>
            </a:r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11F87D75-CF1C-AAFE-7086-96DA28466C3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2" name="Date Placeholder 6" hidden="1">
            <a:extLst>
              <a:ext uri="{FF2B5EF4-FFF2-40B4-BE49-F238E27FC236}">
                <a16:creationId xmlns:a16="http://schemas.microsoft.com/office/drawing/2014/main" id="{575C58B5-C99D-57D0-CDBE-268C38BB095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BB0F90D0-DE3E-4713-B566-C06C7B4F28DA}" type="datetime3">
              <a:rPr lang="nb-NO" smtClean="0"/>
              <a:t>2024.02.14</a:t>
            </a:fld>
            <a:endParaRPr lang="nb-NO"/>
          </a:p>
        </p:txBody>
      </p:sp>
      <p:sp>
        <p:nvSpPr>
          <p:cNvPr id="2" name="Background">
            <a:extLst>
              <a:ext uri="{FF2B5EF4-FFF2-40B4-BE49-F238E27FC236}">
                <a16:creationId xmlns:a16="http://schemas.microsoft.com/office/drawing/2014/main" id="{0D3998C3-46A2-89A7-D4FC-61BD58641E9A}"/>
              </a:ext>
            </a:extLst>
          </p:cNvPr>
          <p:cNvSpPr/>
          <p:nvPr userDrawn="1"/>
        </p:nvSpPr>
        <p:spPr bwMode="white">
          <a:xfrm>
            <a:off x="0" y="0"/>
            <a:ext cx="12193200" cy="6858000"/>
          </a:xfrm>
          <a:prstGeom prst="rect">
            <a:avLst/>
          </a:prstGeom>
          <a:solidFill>
            <a:srgbClr val="CBBB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0" tIns="270000" rIns="270000" bIns="270000" rtlCol="0" anchor="ctr"/>
          <a:lstStyle/>
          <a:p>
            <a:pPr algn="ctr"/>
            <a:endParaRPr lang="nb-NO" sz="1600" noProof="0">
              <a:solidFill>
                <a:schemeClr val="bg1"/>
              </a:solidFill>
            </a:endParaRP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4504D34-37B3-63EC-DC40-15AA0603E53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50850" y="361950"/>
            <a:ext cx="5162550" cy="6137275"/>
          </a:xfrm>
          <a:solidFill>
            <a:schemeClr val="bg1">
              <a:lumMod val="85000"/>
            </a:schemeClr>
          </a:solidFill>
        </p:spPr>
        <p:txBody>
          <a:bodyPr lIns="36000" tIns="36000" rIns="36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/>
            </a:lvl1pPr>
          </a:lstStyle>
          <a:p>
            <a:r>
              <a:rPr lang="nb-NO"/>
              <a:t>Click on frame and insert picture via Templafy Images.</a:t>
            </a: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C20BFC0A-25B7-083E-46B7-D68D58615820}"/>
              </a:ext>
            </a:extLst>
          </p:cNvPr>
          <p:cNvSpPr txBox="1"/>
          <p:nvPr userDrawn="1"/>
        </p:nvSpPr>
        <p:spPr>
          <a:xfrm>
            <a:off x="6064250" y="552450"/>
            <a:ext cx="5688000" cy="984565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101000"/>
              </a:lnSpc>
            </a:pPr>
            <a:r>
              <a:rPr lang="nb-NO" sz="6600">
                <a:solidFill>
                  <a:schemeClr val="tx2"/>
                </a:solidFill>
                <a:latin typeface="+mj-lt"/>
              </a:rPr>
              <a:t>Agenda</a:t>
            </a:r>
            <a:endParaRPr lang="nb-NO"/>
          </a:p>
        </p:txBody>
      </p:sp>
      <p:sp>
        <p:nvSpPr>
          <p:cNvPr id="10" name="Plassholder for tekst 2">
            <a:extLst>
              <a:ext uri="{FF2B5EF4-FFF2-40B4-BE49-F238E27FC236}">
                <a16:creationId xmlns:a16="http://schemas.microsoft.com/office/drawing/2014/main" id="{BAAEF3D5-01FB-91C4-D74C-E02E34B64CD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64250" y="1952619"/>
            <a:ext cx="5688000" cy="4235455"/>
          </a:xfrm>
          <a:prstGeom prst="rect">
            <a:avLst/>
          </a:prstGeom>
        </p:spPr>
        <p:txBody>
          <a:bodyPr lIns="0" tIns="0" rIns="0" bIns="0" numCol="1" spcCol="334800"/>
          <a:lstStyle>
            <a:lvl1pPr marL="630000" indent="-630000">
              <a:lnSpc>
                <a:spcPct val="100000"/>
              </a:lnSpc>
              <a:spcBef>
                <a:spcPts val="1100"/>
              </a:spcBef>
              <a:buFont typeface="+mj-lt"/>
              <a:buAutoNum type="arabicPeriod"/>
              <a:defRPr sz="2400">
                <a:solidFill>
                  <a:schemeClr val="tx2"/>
                </a:solidFill>
              </a:defRPr>
            </a:lvl1pPr>
            <a:lvl2pPr marL="810000" indent="-1800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b="0">
                <a:solidFill>
                  <a:schemeClr val="tx2"/>
                </a:solidFill>
              </a:defRPr>
            </a:lvl2pPr>
            <a:lvl3pPr marL="810000" indent="-1800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b="0">
                <a:solidFill>
                  <a:schemeClr val="tx2"/>
                </a:solidFill>
              </a:defRPr>
            </a:lvl3pPr>
            <a:lvl4pPr marL="810000" indent="-1800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b="0">
                <a:solidFill>
                  <a:schemeClr val="tx2"/>
                </a:solidFill>
              </a:defRPr>
            </a:lvl4pPr>
            <a:lvl5pPr marL="810000" indent="-1800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b="0">
                <a:solidFill>
                  <a:schemeClr val="tx2"/>
                </a:solidFill>
              </a:defRPr>
            </a:lvl5pPr>
            <a:lvl6pPr marL="810000" indent="-1800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b="0">
                <a:solidFill>
                  <a:schemeClr val="tx2"/>
                </a:solidFill>
              </a:defRPr>
            </a:lvl6pPr>
            <a:lvl7pPr marL="810000" indent="-1800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b="0">
                <a:solidFill>
                  <a:schemeClr val="tx2"/>
                </a:solidFill>
              </a:defRPr>
            </a:lvl7pPr>
            <a:lvl8pPr marL="810000" indent="-1800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b="0">
                <a:solidFill>
                  <a:schemeClr val="tx2"/>
                </a:solidFill>
              </a:defRPr>
            </a:lvl8pPr>
            <a:lvl9pPr marL="810000" indent="-1800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b="0">
                <a:solidFill>
                  <a:schemeClr val="tx2"/>
                </a:solidFill>
              </a:defRPr>
            </a:lvl9pPr>
          </a:lstStyle>
          <a:p>
            <a:pPr lvl="0"/>
            <a:r>
              <a:rPr lang="nb-NO" noProof="0" dirty="0"/>
              <a:t>Click to add agenda point                   Enter &amp; TAB to view next text style   SHIFT+TAB to view previous text style</a:t>
            </a:r>
            <a:endParaRPr lang="nb-NO"/>
          </a:p>
          <a:p>
            <a:pPr lvl="1"/>
            <a:r>
              <a:rPr lang="nb-NO" noProof="0" dirty="0"/>
              <a:t>Second level</a:t>
            </a:r>
            <a:endParaRPr lang="nb-NO"/>
          </a:p>
          <a:p>
            <a:pPr lvl="2"/>
            <a:r>
              <a:rPr lang="nb-NO" noProof="0" dirty="0"/>
              <a:t>Third level</a:t>
            </a:r>
            <a:endParaRPr lang="nb-NO"/>
          </a:p>
          <a:p>
            <a:pPr lvl="3"/>
            <a:r>
              <a:rPr lang="nb-NO" noProof="0" dirty="0"/>
              <a:t>Fourth level</a:t>
            </a:r>
            <a:endParaRPr lang="nb-NO"/>
          </a:p>
          <a:p>
            <a:pPr lvl="4"/>
            <a:r>
              <a:rPr lang="nb-NO" noProof="0" dirty="0"/>
              <a:t>Fifth level</a:t>
            </a:r>
            <a:endParaRPr lang="nb-NO"/>
          </a:p>
          <a:p>
            <a:pPr lvl="5"/>
            <a:r>
              <a:rPr lang="nb-NO" noProof="0" dirty="0"/>
              <a:t>6</a:t>
            </a:r>
            <a:endParaRPr lang="nb-NO"/>
          </a:p>
          <a:p>
            <a:pPr lvl="6"/>
            <a:r>
              <a:rPr lang="nb-NO" noProof="0" dirty="0"/>
              <a:t>7</a:t>
            </a:r>
            <a:endParaRPr lang="nb-NO"/>
          </a:p>
          <a:p>
            <a:pPr lvl="7"/>
            <a:r>
              <a:rPr lang="nb-NO" noProof="0" dirty="0"/>
              <a:t>8</a:t>
            </a:r>
            <a:endParaRPr lang="nb-NO"/>
          </a:p>
          <a:p>
            <a:pPr lvl="8"/>
            <a:r>
              <a:rPr lang="nb-NO" noProof="0" dirty="0"/>
              <a:t>9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970690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build="p">
        <p:tmplLst>
          <p:tmpl lvl="1">
            <p:tnLst>
              <p:par>
                <p:cTn presetID="10" presetClass="entr" presetSubtype="0" fill="hold" nodeType="click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28" userDrawn="1">
          <p15:clr>
            <a:srgbClr val="A4A3A4"/>
          </p15:clr>
        </p15:guide>
        <p15:guide id="2" orient="horz" pos="981" userDrawn="1">
          <p15:clr>
            <a:srgbClr val="A4A3A4"/>
          </p15:clr>
        </p15:guide>
        <p15:guide id="3" pos="3820" userDrawn="1">
          <p15:clr>
            <a:srgbClr val="A4A3A4"/>
          </p15:clr>
        </p15:guide>
        <p15:guide id="4" pos="7404" userDrawn="1">
          <p15:clr>
            <a:srgbClr val="A4A3A4"/>
          </p15:clr>
        </p15:guide>
        <p15:guide id="6" pos="284" userDrawn="1">
          <p15:clr>
            <a:srgbClr val="A4A3A4"/>
          </p15:clr>
        </p15:guide>
        <p15:guide id="7" pos="3536" userDrawn="1">
          <p15:clr>
            <a:srgbClr val="A4A3A4"/>
          </p15:clr>
        </p15:guide>
        <p15:guide id="8" orient="horz" pos="1229" userDrawn="1">
          <p15:clr>
            <a:srgbClr val="A4A3A4"/>
          </p15:clr>
        </p15:guide>
        <p15:guide id="9" orient="horz" pos="3897" userDrawn="1">
          <p15:clr>
            <a:srgbClr val="A4A3A4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8" hidden="1">
            <a:extLst>
              <a:ext uri="{FF2B5EF4-FFF2-40B4-BE49-F238E27FC236}">
                <a16:creationId xmlns:a16="http://schemas.microsoft.com/office/drawing/2014/main" id="{A8C62336-D4B0-0D80-04FA-75DB1E0407E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Gjensidige Forsikring Group</a:t>
            </a:r>
          </a:p>
        </p:txBody>
      </p:sp>
      <p:sp>
        <p:nvSpPr>
          <p:cNvPr id="3" name="Slide Number Placeholder 10" hidden="1">
            <a:extLst>
              <a:ext uri="{FF2B5EF4-FFF2-40B4-BE49-F238E27FC236}">
                <a16:creationId xmlns:a16="http://schemas.microsoft.com/office/drawing/2014/main" id="{1F5A1564-CD25-5AB5-DA79-122BA805420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4" name="Date Placeholder 6" hidden="1">
            <a:extLst>
              <a:ext uri="{FF2B5EF4-FFF2-40B4-BE49-F238E27FC236}">
                <a16:creationId xmlns:a16="http://schemas.microsoft.com/office/drawing/2014/main" id="{2FFB0235-AB00-47D1-8D88-2E3955A4BFC4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BB0F90D0-DE3E-4713-B566-C06C7B4F28DA}" type="datetime3">
              <a:rPr lang="nb-NO" smtClean="0"/>
              <a:t>2024.02.14</a:t>
            </a:fld>
            <a:endParaRPr lang="nb-NO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68C9D6D-BB68-7B07-D70C-B31ACC439A5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-794"/>
            <a:ext cx="12192000" cy="6858794"/>
          </a:xfrm>
          <a:solidFill>
            <a:schemeClr val="bg1">
              <a:lumMod val="85000"/>
            </a:schemeClr>
          </a:solidFill>
        </p:spPr>
        <p:txBody>
          <a:bodyPr lIns="36000" tIns="36000" rIns="36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rgbClr val="090C33"/>
                </a:solidFill>
              </a:defRPr>
            </a:lvl1pPr>
          </a:lstStyle>
          <a:p>
            <a:r>
              <a:rPr lang="nb-NO"/>
              <a:t>To insert picture from Templafy click on slide frame and select from Templafy Images.</a:t>
            </a:r>
          </a:p>
          <a:p>
            <a:r>
              <a:rPr lang="nb-NO"/>
              <a:t>To insert picture from local computer, insert text in the title field first to access the picture icon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8D43AD-A3F3-9768-B9E7-48B0D9EC7A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3437" y="359924"/>
            <a:ext cx="11591060" cy="4734000"/>
          </a:xfrm>
        </p:spPr>
        <p:txBody>
          <a:bodyPr anchor="t"/>
          <a:lstStyle>
            <a:lvl1pPr indent="1440288">
              <a:lnSpc>
                <a:spcPct val="83000"/>
              </a:lnSpc>
              <a:defRPr sz="13003">
                <a:solidFill>
                  <a:schemeClr val="lt1"/>
                </a:solidFill>
              </a:defRPr>
            </a:lvl1pPr>
          </a:lstStyle>
          <a:p>
            <a:r>
              <a:rPr lang="nb-NO" dirty="0"/>
              <a:t>Click to add short title</a:t>
            </a:r>
            <a:endParaRPr lang="nb-NO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1004517F-A5FF-C9FB-F650-1DB39797D24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3437" y="5838825"/>
            <a:ext cx="11591060" cy="82944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rgbClr val="FFFFFF"/>
                </a:solidFill>
                <a:latin typeface="Gjensidige Type" pitchFamily="50" charset="0"/>
                <a:ea typeface="Arial" pitchFamily="34" charset="0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pPr lvl="0"/>
            <a:r>
              <a:rPr lang="nb-NO" dirty="0"/>
              <a:t>Click to add short subheading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5892636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1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3" pos="159" userDrawn="1">
          <p15:clr>
            <a:srgbClr val="A4A3A4"/>
          </p15:clr>
        </p15:guide>
        <p15:guide id="4" pos="7461" userDrawn="1">
          <p15:clr>
            <a:srgbClr val="A4A3A4"/>
          </p15:clr>
        </p15:guide>
        <p15:guide id="5" orient="horz" pos="4201" userDrawn="1">
          <p15:clr>
            <a:srgbClr val="A4A3A4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A">
    <p:bg>
      <p:bgPr>
        <a:solidFill>
          <a:srgbClr val="F4FFA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4F6D8F8A-FA0D-A64C-8E68-FE35FF2E64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FD456-FCAF-42A7-83AC-576433D435DC}" type="datetime3">
              <a:rPr lang="nb-NO" smtClean="0"/>
              <a:t>2024.02.14</a:t>
            </a:fld>
            <a:endParaRPr lang="nb-NO"/>
          </a:p>
        </p:txBody>
      </p:sp>
      <p:sp>
        <p:nvSpPr>
          <p:cNvPr id="3" name="Background">
            <a:extLst>
              <a:ext uri="{FF2B5EF4-FFF2-40B4-BE49-F238E27FC236}">
                <a16:creationId xmlns:a16="http://schemas.microsoft.com/office/drawing/2014/main" id="{B33D685B-65DA-25E0-E042-7C2E4929CB74}"/>
              </a:ext>
            </a:extLst>
          </p:cNvPr>
          <p:cNvSpPr/>
          <p:nvPr userDrawn="1"/>
        </p:nvSpPr>
        <p:spPr bwMode="white">
          <a:xfrm>
            <a:off x="0" y="0"/>
            <a:ext cx="12193200" cy="6858000"/>
          </a:xfrm>
          <a:prstGeom prst="rect">
            <a:avLst/>
          </a:prstGeom>
          <a:solidFill>
            <a:srgbClr val="F4FF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0" tIns="270000" rIns="270000" bIns="270000" rtlCol="0" anchor="ctr"/>
          <a:lstStyle/>
          <a:p>
            <a:pPr algn="ctr"/>
            <a:endParaRPr lang="nb-NO" sz="1600" noProof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3437" y="914506"/>
            <a:ext cx="11681081" cy="4687019"/>
          </a:xfrm>
        </p:spPr>
        <p:txBody>
          <a:bodyPr anchor="ctr"/>
          <a:lstStyle>
            <a:lvl1pPr>
              <a:defRPr sz="25805">
                <a:solidFill>
                  <a:schemeClr val="tx2"/>
                </a:solidFill>
              </a:defRPr>
            </a:lvl1pPr>
          </a:lstStyle>
          <a:p>
            <a:r>
              <a:rPr lang="nb-NO" dirty="0"/>
              <a:t>Title</a:t>
            </a:r>
            <a:endParaRPr lang="nb-NO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C4CAFBE6-188A-0973-D67F-8F601BF8778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3437" y="6003288"/>
            <a:ext cx="5499184" cy="600846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rgbClr val="090C33"/>
                </a:solidFill>
                <a:latin typeface="Gjensidige Type" pitchFamily="50" charset="0"/>
                <a:ea typeface="Arial" pitchFamily="34" charset="0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dirty="0"/>
              <a:t>Click to add name or other text</a:t>
            </a:r>
            <a:endParaRPr lang="nb-NO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E9BFD49-7F36-417D-72E5-28059E6CC1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0817687-C38E-B03F-4AEE-BC9A0F533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248A0A93-154F-F681-4102-9DE1B8ED854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428151" y="253258"/>
            <a:ext cx="510133" cy="506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33304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576" userDrawn="1">
          <p15:clr>
            <a:srgbClr val="A4A3A4"/>
          </p15:clr>
        </p15:guide>
        <p15:guide id="2" orient="horz" pos="3528" userDrawn="1">
          <p15:clr>
            <a:srgbClr val="A4A3A4"/>
          </p15:clr>
        </p15:guide>
        <p15:guide id="3" pos="159" userDrawn="1">
          <p15:clr>
            <a:srgbClr val="A4A3A4"/>
          </p15:clr>
        </p15:guide>
        <p15:guide id="4" pos="7517" userDrawn="1">
          <p15:clr>
            <a:srgbClr val="A4A3A4"/>
          </p15:clr>
        </p15:guide>
        <p15:guide id="5" orient="horz" pos="3781" userDrawn="1">
          <p15:clr>
            <a:srgbClr val="A4A3A4"/>
          </p15:clr>
        </p15:guide>
        <p15:guide id="6" orient="horz" pos="4160" userDrawn="1">
          <p15:clr>
            <a:srgbClr val="A4A3A4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B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4F6D8F8A-FA0D-A64C-8E68-FE35FF2E64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FD456-FCAF-42A7-83AC-576433D435DC}" type="datetime3">
              <a:rPr lang="nb-NO" smtClean="0"/>
              <a:t>2024.02.14</a:t>
            </a:fld>
            <a:endParaRPr lang="nb-NO"/>
          </a:p>
        </p:txBody>
      </p:sp>
      <p:sp>
        <p:nvSpPr>
          <p:cNvPr id="3" name="Background">
            <a:extLst>
              <a:ext uri="{FF2B5EF4-FFF2-40B4-BE49-F238E27FC236}">
                <a16:creationId xmlns:a16="http://schemas.microsoft.com/office/drawing/2014/main" id="{B33D685B-65DA-25E0-E042-7C2E4929CB74}"/>
              </a:ext>
            </a:extLst>
          </p:cNvPr>
          <p:cNvSpPr/>
          <p:nvPr userDrawn="1"/>
        </p:nvSpPr>
        <p:spPr bwMode="ltGray">
          <a:xfrm>
            <a:off x="0" y="0"/>
            <a:ext cx="12193200" cy="6858000"/>
          </a:xfrm>
          <a:prstGeom prst="rect">
            <a:avLst/>
          </a:prstGeom>
          <a:solidFill>
            <a:srgbClr val="090C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0" tIns="270000" rIns="270000" bIns="270000" rtlCol="0" anchor="ctr"/>
          <a:lstStyle/>
          <a:p>
            <a:pPr algn="ctr"/>
            <a:endParaRPr lang="nb-NO" sz="1600" noProof="0">
              <a:solidFill>
                <a:schemeClr val="bg1"/>
              </a:solidFill>
            </a:endParaRP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5F9E2D28-9705-C06C-5743-2EC661D5D5F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28151" y="253258"/>
            <a:ext cx="510134" cy="50641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253437" y="914506"/>
            <a:ext cx="11681081" cy="4687019"/>
          </a:xfrm>
        </p:spPr>
        <p:txBody>
          <a:bodyPr anchor="ctr"/>
          <a:lstStyle>
            <a:lvl1pPr>
              <a:defRPr sz="25805">
                <a:solidFill>
                  <a:srgbClr val="F4FFAF"/>
                </a:solidFill>
              </a:defRPr>
            </a:lvl1pPr>
          </a:lstStyle>
          <a:p>
            <a:r>
              <a:rPr lang="nb-NO" dirty="0"/>
              <a:t>Title</a:t>
            </a:r>
            <a:endParaRPr lang="nb-NO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C4CAFBE6-188A-0973-D67F-8F601BF8778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253437" y="6003288"/>
            <a:ext cx="5499184" cy="600846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rgbClr val="F4FFAF"/>
                </a:solidFill>
                <a:latin typeface="Gjensidige Type" pitchFamily="50" charset="0"/>
                <a:ea typeface="Arial" pitchFamily="34" charset="0"/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dirty="0"/>
              <a:t>Click to add name or other text</a:t>
            </a:r>
            <a:endParaRPr lang="nb-NO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E9BFD49-7F36-417D-72E5-28059E6CC1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4FFAF"/>
                </a:solidFill>
              </a:defRPr>
            </a:lvl1pPr>
          </a:lstStyle>
          <a:p>
            <a:r>
              <a:rPr lang="nb-NO"/>
              <a:t>Gjensidige Forsikring Group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0817687-C38E-B03F-4AEE-BC9A0F533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4FFAF"/>
                </a:solidFill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458917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576" userDrawn="1">
          <p15:clr>
            <a:srgbClr val="A4A3A4"/>
          </p15:clr>
        </p15:guide>
        <p15:guide id="2" orient="horz" pos="3528" userDrawn="1">
          <p15:clr>
            <a:srgbClr val="A4A3A4"/>
          </p15:clr>
        </p15:guide>
        <p15:guide id="3" pos="159" userDrawn="1">
          <p15:clr>
            <a:srgbClr val="A4A3A4"/>
          </p15:clr>
        </p15:guide>
        <p15:guide id="4" pos="7517" userDrawn="1">
          <p15:clr>
            <a:srgbClr val="A4A3A4"/>
          </p15:clr>
        </p15:guide>
        <p15:guide id="5" orient="horz" pos="3781" userDrawn="1">
          <p15:clr>
            <a:srgbClr val="A4A3A4"/>
          </p15:clr>
        </p15:guide>
        <p15:guide id="6" orient="horz" pos="4160" userDrawn="1">
          <p15:clr>
            <a:srgbClr val="A4A3A4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23EDB152-FA61-9ACC-164F-0241E93CF0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FD456-FCAF-42A7-83AC-576433D435DC}" type="datetime3">
              <a:rPr lang="nb-NO" smtClean="0"/>
              <a:t>2024.02.14</a:t>
            </a:fld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9999" y="622800"/>
            <a:ext cx="10184400" cy="982800"/>
          </a:xfrm>
        </p:spPr>
        <p:txBody>
          <a:bodyPr/>
          <a:lstStyle/>
          <a:p>
            <a:r>
              <a:rPr lang="nb-NO" noProof="0" dirty="0"/>
              <a:t>Click to add title. </a:t>
            </a:r>
            <a:br>
              <a:rPr lang="en-GB" noProof="0" dirty="0"/>
            </a:br>
            <a:r>
              <a:rPr lang="nb-NO" noProof="0" dirty="0"/>
              <a:t>Maximum two lines.</a:t>
            </a:r>
            <a:endParaRPr lang="nb-NO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15E868F7-D1A2-C20F-CC38-2C1624F6D934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9998" y="363600"/>
            <a:ext cx="10184400" cy="2592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b="0">
                <a:solidFill>
                  <a:schemeClr val="tx2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nb-NO" dirty="0"/>
              <a:t>Click to add chapter</a:t>
            </a:r>
            <a:endParaRPr lang="nb-NO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D8C30F2A-A6E2-B1D9-1364-93198976EB0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0000" y="6188400"/>
            <a:ext cx="7664400" cy="316800"/>
          </a:xfrm>
        </p:spPr>
        <p:txBody>
          <a:bodyPr anchor="b" anchorCtr="0"/>
          <a:lstStyle>
            <a:lvl1pPr marL="0" indent="0">
              <a:buNone/>
              <a:defRPr lang="en-US" sz="7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nb-NO" dirty="0"/>
              <a:t>Click to edit source</a:t>
            </a:r>
            <a:endParaRPr lang="nb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7F03CB-3B5E-B738-6D1D-E89134033D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D7BB741-9BCC-6391-4941-F164B8118B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5088864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sm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B83BF171-11B0-4BBC-A5E0-54E06540B5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E9CB33-6FBE-4520-8FA1-04E5BBC9A3AA}" type="datetime3">
              <a:rPr lang="nb-NO" smtClean="0"/>
              <a:t>2024.02.14</a:t>
            </a:fld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0000" y="622800"/>
            <a:ext cx="10184400" cy="831600"/>
          </a:xfrm>
        </p:spPr>
        <p:txBody>
          <a:bodyPr anchor="t" anchorCtr="0"/>
          <a:lstStyle>
            <a:lvl1pPr>
              <a:defRPr sz="1800"/>
            </a:lvl1pPr>
          </a:lstStyle>
          <a:p>
            <a:pPr lvl="0"/>
            <a:r>
              <a:rPr lang="nb-NO" dirty="0"/>
              <a:t>Click to add short title</a:t>
            </a:r>
            <a:endParaRPr lang="nb-NO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1B38768-DE5A-06E6-0848-85A3E7AA18D0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9998" y="363600"/>
            <a:ext cx="10184400" cy="259200"/>
          </a:xfrm>
        </p:spPr>
        <p:txBody>
          <a:bodyPr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200" b="0">
                <a:solidFill>
                  <a:schemeClr val="tx2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nb-NO" dirty="0"/>
              <a:t>Click to add chapter</a:t>
            </a:r>
            <a:endParaRPr lang="nb-NO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21C4BC04-490A-2264-B164-DA982E5B7C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0000" y="6188400"/>
            <a:ext cx="7664400" cy="316800"/>
          </a:xfrm>
        </p:spPr>
        <p:txBody>
          <a:bodyPr anchor="b" anchorCtr="0"/>
          <a:lstStyle>
            <a:lvl1pPr marL="0" indent="0">
              <a:buNone/>
              <a:defRPr lang="en-US" sz="7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nb-NO" dirty="0"/>
              <a:t>Click to edit source</a:t>
            </a:r>
            <a:endParaRPr lang="nb-NO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DD4BEBA1-3B3D-4B4B-9C17-2B3431510A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4A63ACE-2F21-4C6E-8E2B-F2CF74469B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3064694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59BE18-6820-417E-88D1-C143F84621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8EC8840-13BA-406D-AE15-E96701F6DE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nb-NO" smtClean="0"/>
              <a:t>‹#›</a:t>
            </a:fld>
            <a:endParaRPr lang="nb-NO"/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6518F144-C552-47DE-B37E-F764CB8D02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DA4E8-9CD0-44D7-B1FE-4002761FA140}" type="datetime3">
              <a:rPr lang="nb-NO" smtClean="0"/>
              <a:t>2024.02.1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4394888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1B9D3C9E-D517-C566-63D0-6729B2FD39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2FD456-FCAF-42A7-83AC-576433D435DC}" type="datetime3">
              <a:rPr lang="nb-NO" smtClean="0"/>
              <a:t>2024.02.14</a:t>
            </a:fld>
            <a:endParaRPr lang="nb-NO"/>
          </a:p>
        </p:txBody>
      </p:sp>
      <p:sp>
        <p:nvSpPr>
          <p:cNvPr id="6" name="Background">
            <a:extLst>
              <a:ext uri="{FF2B5EF4-FFF2-40B4-BE49-F238E27FC236}">
                <a16:creationId xmlns:a16="http://schemas.microsoft.com/office/drawing/2014/main" id="{E2610B9A-9D9B-67D5-F020-E96833590785}"/>
              </a:ext>
            </a:extLst>
          </p:cNvPr>
          <p:cNvSpPr/>
          <p:nvPr userDrawn="1"/>
        </p:nvSpPr>
        <p:spPr bwMode="ltGray">
          <a:xfrm>
            <a:off x="0" y="0"/>
            <a:ext cx="12193200" cy="6858000"/>
          </a:xfrm>
          <a:prstGeom prst="rect">
            <a:avLst/>
          </a:prstGeom>
          <a:solidFill>
            <a:srgbClr val="090C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0" tIns="270000" rIns="270000" bIns="270000" rtlCol="0" anchor="ctr"/>
          <a:lstStyle/>
          <a:p>
            <a:pPr algn="ctr"/>
            <a:endParaRPr lang="nb-NO" sz="1600" noProof="0">
              <a:solidFill>
                <a:schemeClr val="bg1"/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819CCE9-4F74-E90A-BD06-7665EE7F10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4FFAF"/>
                </a:solidFill>
              </a:defRPr>
            </a:lvl1pPr>
          </a:lstStyle>
          <a:p>
            <a:r>
              <a:rPr lang="nb-NO"/>
              <a:t>Gjensidige Forsikring Group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2D327F4-1D7C-C454-C05D-A1547B9EAA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4FFAF"/>
                </a:solidFill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3" name="Logo">
            <a:extLst>
              <a:ext uri="{FF2B5EF4-FFF2-40B4-BE49-F238E27FC236}">
                <a16:creationId xmlns:a16="http://schemas.microsoft.com/office/drawing/2014/main" id="{C64DE672-2E87-C292-7634-63DAD727B1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72425" t="-5750" b="1"/>
          <a:stretch/>
        </p:blipFill>
        <p:spPr>
          <a:xfrm>
            <a:off x="11372488" y="222276"/>
            <a:ext cx="565797" cy="537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926019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r 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Background">
            <a:extLst>
              <a:ext uri="{FF2B5EF4-FFF2-40B4-BE49-F238E27FC236}">
                <a16:creationId xmlns:a16="http://schemas.microsoft.com/office/drawing/2014/main" id="{AE022511-4DD1-4FC0-998B-A08766498F1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000" noProof="0" err="1"/>
          </a:p>
        </p:txBody>
      </p:sp>
      <p:sp>
        <p:nvSpPr>
          <p:cNvPr id="23" name="Text Box 3">
            <a:extLst>
              <a:ext uri="{FF2B5EF4-FFF2-40B4-BE49-F238E27FC236}">
                <a16:creationId xmlns:a16="http://schemas.microsoft.com/office/drawing/2014/main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215973" y="1278004"/>
            <a:ext cx="4392000" cy="4524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sz="1600" b="0" kern="1200" cap="none" baseline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Pictures</a:t>
            </a:r>
            <a:br>
              <a:rPr lang="en-GB" sz="900">
                <a:latin typeface="+mn-lt"/>
                <a:cs typeface="Arial" panose="020B0604020202020204" pitchFamily="34" charset="0"/>
              </a:rPr>
            </a:br>
            <a:r>
              <a:rPr lang="nb-NO" sz="12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corporate picture from Templafy</a:t>
            </a:r>
            <a:endParaRPr lang="nb-NO" altLang="da-DK" sz="12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altLang="da-DK" sz="12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nb-NO" altLang="da-DK" sz="12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blue </a:t>
            </a:r>
            <a:r>
              <a:rPr lang="nb-NO" altLang="da-DK" sz="12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emplafy </a:t>
            </a:r>
            <a:r>
              <a:rPr lang="nb-NO" altLang="da-DK" sz="12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utton</a:t>
            </a:r>
            <a:endParaRPr lang="nb-NO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altLang="da-DK" sz="12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nb-NO" altLang="da-DK" sz="12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elect picture placeholder by clicking on the frame </a:t>
            </a:r>
            <a:br>
              <a:rPr lang="en-GB" altLang="da-DK" sz="12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nb-NO" altLang="da-DK" sz="12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(at the edge)</a:t>
            </a:r>
            <a:endParaRPr lang="nb-NO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altLang="da-DK" sz="12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3. </a:t>
            </a:r>
            <a:r>
              <a:rPr lang="nb-NO" altLang="da-DK" sz="12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nb-NO" altLang="da-DK" sz="12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 </a:t>
            </a:r>
            <a:r>
              <a:rPr lang="nb-NO" altLang="da-DK" sz="1200" b="0" i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utton</a:t>
            </a:r>
            <a:r>
              <a:rPr lang="nb-NO" altLang="da-DK" sz="12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n the Templafy pane</a:t>
            </a:r>
            <a:br>
              <a:rPr lang="en-GB" altLang="da-DK" sz="12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endParaRPr lang="nb-NO" altLang="da-DK" sz="1200" b="0" baseline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altLang="da-DK" sz="12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icture</a:t>
            </a:r>
            <a:endParaRPr lang="nb-NO"/>
          </a:p>
          <a:p>
            <a:pPr ea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nb-NO" altLang="da-DK" sz="12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 slides with pictureplaceholder, click on the icon and choose </a:t>
            </a:r>
            <a:r>
              <a:rPr lang="nb-NO" altLang="da-DK" sz="12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  <a:endParaRPr lang="nb-NO"/>
          </a:p>
          <a:p>
            <a:pPr ea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pPr>
            <a:endParaRPr lang="nb-NO" altLang="da-DK" sz="12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nb-NO" sz="12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 picture</a:t>
            </a:r>
            <a:endParaRPr lang="nb-NO"/>
          </a:p>
          <a:p>
            <a:pPr ea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nb-NO" altLang="da-DK" sz="12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nb-NO" altLang="da-DK" sz="12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nb-NO" altLang="da-DK" sz="12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nb-NO" altLang="da-DK" sz="12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change size or focus of the picture</a:t>
            </a:r>
            <a:endParaRPr lang="nb-NO"/>
          </a:p>
          <a:p>
            <a:pPr ea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nb-NO" altLang="da-DK" sz="12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nb-NO" altLang="da-DK" sz="12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want to scale the picture, hold </a:t>
            </a:r>
            <a:r>
              <a:rPr lang="nb-NO" altLang="da-DK" sz="12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nb-NO" altLang="da-DK" sz="12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 down while </a:t>
            </a:r>
            <a:br>
              <a:rPr lang="en-GB" altLang="da-DK" sz="12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nb-NO" altLang="da-DK" sz="12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ragging the corners of the picture</a:t>
            </a:r>
            <a:br>
              <a:rPr lang="en-GB" altLang="da-DK" sz="12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endParaRPr lang="nb-NO" altLang="da-DK" sz="12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nb-NO" altLang="da-DK" sz="12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nb-NO" altLang="da-DK" sz="12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delete the picture and insert a new one, the picture may lie in front of the Text or graphic.</a:t>
            </a:r>
            <a:br>
              <a:rPr lang="en-GB" altLang="da-DK" sz="12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nb-NO" altLang="da-DK" sz="12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this happens, select the picture, </a:t>
            </a:r>
            <a:br>
              <a:rPr lang="en-GB" altLang="da-DK" sz="12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nb-NO" altLang="da-DK" sz="12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nb-NO" altLang="da-DK" sz="12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end to Back</a:t>
            </a:r>
            <a:endParaRPr lang="nb-NO"/>
          </a:p>
        </p:txBody>
      </p:sp>
      <p:sp>
        <p:nvSpPr>
          <p:cNvPr id="42" name="Text Box 2">
            <a:extLst>
              <a:ext uri="{FF2B5EF4-FFF2-40B4-BE49-F238E27FC236}">
                <a16:creationId xmlns:a16="http://schemas.microsoft.com/office/drawing/2014/main" id="{00AD0EBC-0A41-4B26-9D79-79E0C00BBA8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61784" y="1283634"/>
            <a:ext cx="4392000" cy="51860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sz="1600" b="0" cap="none" baseline="0">
                <a:latin typeface="+mj-lt"/>
                <a:cs typeface="Arial" panose="020B0604020202020204" pitchFamily="34" charset="0"/>
              </a:rPr>
              <a:t>Text</a:t>
            </a:r>
            <a:r>
              <a:rPr lang="nb-NO" sz="1600" b="0" cap="none">
                <a:latin typeface="+mj-lt"/>
                <a:cs typeface="Arial" panose="020B0604020202020204" pitchFamily="34" charset="0"/>
              </a:rPr>
              <a:t> </a:t>
            </a:r>
            <a:r>
              <a:rPr lang="nb-NO" sz="1600" b="0" cap="none" baseline="0">
                <a:latin typeface="+mj-lt"/>
                <a:cs typeface="Arial" panose="020B0604020202020204" pitchFamily="34" charset="0"/>
              </a:rPr>
              <a:t>Styles</a:t>
            </a:r>
            <a:endParaRPr lang="nb-NO" altLang="da-DK" sz="1600" b="0" cap="none" baseline="0" noProof="1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nb-NO" altLang="da-DK" sz="12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nb-NO" altLang="da-DK" sz="12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nb-NO" altLang="da-DK" sz="12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</a:t>
            </a:r>
            <a:r>
              <a:rPr lang="nb-NO" altLang="da-DK" sz="12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jump through levels. Click </a:t>
            </a:r>
            <a:r>
              <a:rPr lang="nb-NO" altLang="da-DK" sz="12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nb-NO" altLang="da-DK" sz="12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then </a:t>
            </a:r>
            <a:r>
              <a:rPr lang="nb-NO" altLang="da-DK" sz="12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nb-NO" altLang="da-DK" sz="12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switch from one level to the next level</a:t>
            </a:r>
            <a:endParaRPr lang="nb-NO"/>
          </a:p>
          <a:p>
            <a:pPr ea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nb-NO" altLang="da-DK" sz="12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nb-NO" altLang="da-DK" sz="12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TAB</a:t>
            </a:r>
            <a:endParaRPr lang="nb-NO" sz="12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nb-NO" sz="12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nb-NO" sz="12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nb-NO" sz="12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</a:t>
            </a:r>
            <a:r>
              <a:rPr lang="nb-NO" sz="12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crease </a:t>
            </a:r>
            <a:r>
              <a:rPr lang="nb-NO" sz="12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  <a:endParaRPr lang="nb-NO"/>
          </a:p>
          <a:p>
            <a:pPr ea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pPr>
            <a:endParaRPr lang="nb-NO" sz="1200" baseline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nb-NO" altLang="da-DK" sz="12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nb-NO" sz="12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bullet button</a:t>
            </a:r>
            <a:endParaRPr lang="nb-NO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altLang="da-DK" sz="12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lete bullet for regular Text.</a:t>
            </a:r>
            <a:br>
              <a:rPr lang="en-GB" altLang="da-DK" sz="12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nb-NO" altLang="da-DK" sz="12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bullet button to reaply the correct bullet again</a:t>
            </a:r>
            <a:endParaRPr lang="nb-NO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br>
              <a:rPr lang="en-GB" altLang="da-DK" sz="900" b="0" noProof="1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</a:br>
            <a:r>
              <a:rPr lang="nb-NO" sz="1600">
                <a:latin typeface="+mj-lt"/>
                <a:cs typeface="Arial" panose="020B0604020202020204" pitchFamily="34" charset="0"/>
              </a:rPr>
              <a:t>Slides &amp; Layouts</a:t>
            </a:r>
            <a:b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nb-NO" altLang="da-DK" sz="12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menu </a:t>
            </a:r>
            <a:r>
              <a:rPr lang="nb-NO" altLang="da-DK" sz="12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nb-NO" altLang="da-DK" sz="12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nb-NO" altLang="da-DK" sz="12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</a:t>
            </a:r>
            <a:r>
              <a:rPr lang="nb-NO" altLang="da-DK" sz="12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to insert a new slide</a:t>
            </a:r>
            <a:br>
              <a:rPr lang="en-GB" altLang="da-DK" sz="12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12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nb-NO" altLang="da-DK" sz="12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layout</a:t>
            </a:r>
            <a:endParaRPr lang="nb-NO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sz="1200">
                <a:solidFill>
                  <a:srgbClr val="000000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Click on the arrow next to </a:t>
            </a:r>
            <a:r>
              <a:rPr lang="nb-NO" sz="1200" b="1">
                <a:solidFill>
                  <a:srgbClr val="000000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Layout</a:t>
            </a:r>
            <a:br>
              <a:rPr lang="en-GB" sz="1200" b="1">
                <a:solidFill>
                  <a:srgbClr val="000000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</a:br>
            <a:r>
              <a:rPr lang="nb-NO" sz="1200">
                <a:solidFill>
                  <a:srgbClr val="000000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to view a dropdown menu of possible slide layouts</a:t>
            </a:r>
            <a:br>
              <a:rPr lang="en-GB" altLang="da-DK" sz="12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12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nb-NO" sz="12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slide</a:t>
            </a:r>
            <a:endParaRPr lang="nb-NO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nb-NO" altLang="da-DK" sz="12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nb-NO" altLang="da-DK" sz="12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nb-NO" altLang="da-DK" sz="12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reset position, size</a:t>
            </a:r>
            <a:r>
              <a:rPr lang="nb-NO" altLang="da-DK" sz="12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formatting of the slide placeholders to their default settings</a:t>
            </a:r>
            <a:endParaRPr lang="nb-NO" altLang="da-DK" sz="12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nb-NO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43" name="Picture 2">
            <a:extLst>
              <a:ext uri="{FF2B5EF4-FFF2-40B4-BE49-F238E27FC236}">
                <a16:creationId xmlns:a16="http://schemas.microsoft.com/office/drawing/2014/main" id="{7082C8DC-C092-4676-B834-847B1F28585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99844" y="3182809"/>
            <a:ext cx="257143" cy="285714"/>
          </a:xfrm>
          <a:prstGeom prst="rect">
            <a:avLst/>
          </a:prstGeom>
        </p:spPr>
      </p:pic>
      <p:pic>
        <p:nvPicPr>
          <p:cNvPr id="46" name="Picture 29">
            <a:extLst>
              <a:ext uri="{FF2B5EF4-FFF2-40B4-BE49-F238E27FC236}">
                <a16:creationId xmlns:a16="http://schemas.microsoft.com/office/drawing/2014/main" id="{6B35B93D-CCEE-48AF-A769-8729CC05BE8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00385" y="2279820"/>
            <a:ext cx="457143" cy="257143"/>
          </a:xfrm>
          <a:prstGeom prst="rect">
            <a:avLst/>
          </a:prstGeom>
        </p:spPr>
      </p:pic>
      <p:pic>
        <p:nvPicPr>
          <p:cNvPr id="51" name="Picture 33">
            <a:extLst>
              <a:ext uri="{FF2B5EF4-FFF2-40B4-BE49-F238E27FC236}">
                <a16:creationId xmlns:a16="http://schemas.microsoft.com/office/drawing/2014/main" id="{939F9DAB-8633-4819-950D-F5E391BF77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3901" t="45142" r="62601" b="9046"/>
          <a:stretch/>
        </p:blipFill>
        <p:spPr>
          <a:xfrm>
            <a:off x="10809935" y="3164813"/>
            <a:ext cx="341204" cy="321707"/>
          </a:xfrm>
          <a:prstGeom prst="rect">
            <a:avLst/>
          </a:prstGeom>
        </p:spPr>
      </p:pic>
      <p:pic>
        <p:nvPicPr>
          <p:cNvPr id="55" name="Picture 16">
            <a:extLst>
              <a:ext uri="{FF2B5EF4-FFF2-40B4-BE49-F238E27FC236}">
                <a16:creationId xmlns:a16="http://schemas.microsoft.com/office/drawing/2014/main" id="{A13B127D-1BE4-4C8F-96F6-59C8D10D8F4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006266" y="3956575"/>
            <a:ext cx="328881" cy="505501"/>
          </a:xfrm>
          <a:prstGeom prst="rect">
            <a:avLst/>
          </a:prstGeom>
        </p:spPr>
      </p:pic>
      <p:pic>
        <p:nvPicPr>
          <p:cNvPr id="56" name="Picture 20">
            <a:extLst>
              <a:ext uri="{FF2B5EF4-FFF2-40B4-BE49-F238E27FC236}">
                <a16:creationId xmlns:a16="http://schemas.microsoft.com/office/drawing/2014/main" id="{5730DD9A-26F6-4C14-AE7D-221D2B3F38D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006266" y="5716662"/>
            <a:ext cx="538465" cy="172841"/>
          </a:xfrm>
          <a:prstGeom prst="rect">
            <a:avLst/>
          </a:prstGeom>
        </p:spPr>
      </p:pic>
      <p:pic>
        <p:nvPicPr>
          <p:cNvPr id="57" name="Picture 19">
            <a:extLst>
              <a:ext uri="{FF2B5EF4-FFF2-40B4-BE49-F238E27FC236}">
                <a16:creationId xmlns:a16="http://schemas.microsoft.com/office/drawing/2014/main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900467" y="4145944"/>
            <a:ext cx="313788" cy="543900"/>
          </a:xfrm>
          <a:prstGeom prst="rect">
            <a:avLst/>
          </a:prstGeom>
        </p:spPr>
      </p:pic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/>
          <p:nvPr userDrawn="1"/>
        </p:nvSpPr>
        <p:spPr>
          <a:xfrm>
            <a:off x="449264" y="631996"/>
            <a:ext cx="11199810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nb-NO" sz="3200" noProof="1">
                <a:latin typeface="+mj-lt"/>
                <a:cs typeface="Arial" panose="020B0604020202020204" pitchFamily="34" charset="0"/>
              </a:rPr>
              <a:t>U</a:t>
            </a:r>
            <a:r>
              <a:rPr lang="nb-NO" sz="3200" b="0" noProof="1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ser guide</a:t>
            </a:r>
            <a:endParaRPr lang="nb-NO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6D83AD9C-98AE-450E-B202-15860002D52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5006265" y="4906926"/>
            <a:ext cx="475428" cy="176762"/>
          </a:xfrm>
          <a:prstGeom prst="rect">
            <a:avLst/>
          </a:prstGeom>
        </p:spPr>
      </p:pic>
      <p:sp>
        <p:nvSpPr>
          <p:cNvPr id="30" name="Date Placeholder 6" hidden="1">
            <a:extLst>
              <a:ext uri="{FF2B5EF4-FFF2-40B4-BE49-F238E27FC236}">
                <a16:creationId xmlns:a16="http://schemas.microsoft.com/office/drawing/2014/main" id="{93509EEE-7461-4A52-B4A2-A2B1C4E48F2F}"/>
              </a:ext>
            </a:extLst>
          </p:cNvPr>
          <p:cNvSpPr>
            <a:spLocks noGrp="1"/>
          </p:cNvSpPr>
          <p:nvPr userDrawn="1">
            <p:ph type="dt" sz="half" idx="15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1F87E772-E5F0-4DAE-A926-DD22AE1FC7C6}" type="datetime3">
              <a:rPr lang="nb-NO" smtClean="0"/>
              <a:t>2024.02.14</a:t>
            </a:fld>
            <a:endParaRPr lang="nb-NO"/>
          </a:p>
        </p:txBody>
      </p:sp>
      <p:sp>
        <p:nvSpPr>
          <p:cNvPr id="31" name="Footer Placeholder 8" hidden="1">
            <a:extLst>
              <a:ext uri="{FF2B5EF4-FFF2-40B4-BE49-F238E27FC236}">
                <a16:creationId xmlns:a16="http://schemas.microsoft.com/office/drawing/2014/main" id="{04FBFFDD-91FD-4FB1-8AA5-633D6F8CCA8C}"/>
              </a:ext>
            </a:extLst>
          </p:cNvPr>
          <p:cNvSpPr>
            <a:spLocks noGrp="1"/>
          </p:cNvSpPr>
          <p:nvPr userDrawn="1">
            <p:ph type="ftr" sz="quarter" idx="16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Gjensidige Forsikring Group</a:t>
            </a:r>
          </a:p>
        </p:txBody>
      </p:sp>
      <p:sp>
        <p:nvSpPr>
          <p:cNvPr id="32" name="Slide Number Placeholder 10" hidden="1">
            <a:extLst>
              <a:ext uri="{FF2B5EF4-FFF2-40B4-BE49-F238E27FC236}">
                <a16:creationId xmlns:a16="http://schemas.microsoft.com/office/drawing/2014/main" id="{D443AB72-9BE8-43B6-A442-FA802909AB18}"/>
              </a:ext>
            </a:extLst>
          </p:cNvPr>
          <p:cNvSpPr>
            <a:spLocks noGrp="1"/>
          </p:cNvSpPr>
          <p:nvPr userDrawn="1">
            <p:ph type="sldNum" sz="quarter" idx="17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7" name="Billede 26">
            <a:extLst>
              <a:ext uri="{FF2B5EF4-FFF2-40B4-BE49-F238E27FC236}">
                <a16:creationId xmlns:a16="http://schemas.microsoft.com/office/drawing/2014/main" id="{A1BCE2C4-0C15-C6B1-0F86-2BCFEB1BC20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0888958" y="1662353"/>
            <a:ext cx="305786" cy="36585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BD8F426-564F-8DD3-CB73-E9B5F55CE2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/>
          <a:srcRect l="50000" t="50000" b="4554"/>
          <a:stretch/>
        </p:blipFill>
        <p:spPr>
          <a:xfrm>
            <a:off x="10823097" y="2408391"/>
            <a:ext cx="437508" cy="365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173199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r guide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Background">
            <a:extLst>
              <a:ext uri="{FF2B5EF4-FFF2-40B4-BE49-F238E27FC236}">
                <a16:creationId xmlns:a16="http://schemas.microsoft.com/office/drawing/2014/main" id="{AE022511-4DD1-4FC0-998B-A08766498F1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000" noProof="0" err="1"/>
          </a:p>
        </p:txBody>
      </p:sp>
      <p:sp>
        <p:nvSpPr>
          <p:cNvPr id="61" name="Text Box 4">
            <a:extLst>
              <a:ext uri="{FF2B5EF4-FFF2-40B4-BE49-F238E27FC236}">
                <a16:creationId xmlns:a16="http://schemas.microsoft.com/office/drawing/2014/main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49263" y="1278004"/>
            <a:ext cx="4392000" cy="3570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sz="1600">
                <a:latin typeface="+mj-lt"/>
                <a:cs typeface="Arial" panose="020B0604020202020204" pitchFamily="34" charset="0"/>
              </a:rPr>
              <a:t>Header &amp; footer</a:t>
            </a:r>
            <a:endParaRPr lang="nb-NO"/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12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o this at the very end to apply the changes on all slides</a:t>
            </a:r>
            <a:endParaRPr lang="nb-NO"/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12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nb-NO" altLang="da-DK" sz="12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eader and Footer </a:t>
            </a:r>
            <a:r>
              <a:rPr lang="nb-NO" altLang="da-DK" sz="12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nb-NO" altLang="da-DK" sz="12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  <a:r>
              <a:rPr lang="nb-NO" altLang="da-DK" sz="12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(write the desired Text)</a:t>
            </a:r>
            <a:endParaRPr lang="nb-NO"/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12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nb-NO" altLang="da-DK" sz="12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nb-NO" altLang="da-DK" sz="12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nb-NO" altLang="da-DK" sz="12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nb-NO" altLang="da-DK" sz="12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f only used on one slide</a:t>
            </a:r>
            <a:endParaRPr lang="nb-NO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sz="1600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Guides</a:t>
            </a:r>
            <a:endParaRPr lang="nb-NO" sz="1600" kern="1200" noProof="1">
              <a:solidFill>
                <a:schemeClr val="tx1"/>
              </a:solidFill>
              <a:latin typeface="+mj-lt"/>
              <a:ea typeface="+mn-ea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12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nb-NO" altLang="da-DK" sz="12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nb-NO" altLang="da-DK" sz="12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and set tick mark next to </a:t>
            </a:r>
            <a:r>
              <a:rPr lang="nb-NO" altLang="da-DK" sz="12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nb-NO" altLang="da-DK" sz="12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12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nb-NO" altLang="da-DK" sz="12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quick view of guides</a:t>
            </a:r>
            <a:br>
              <a:rPr lang="en-GB" altLang="da-DK" sz="12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nb-NO" altLang="da-DK" sz="12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ac: </a:t>
            </a:r>
            <a:r>
              <a:rPr lang="nb-NO" sz="1200" b="0" i="0">
                <a:solidFill>
                  <a:srgbClr val="333333"/>
                </a:solidFill>
                <a:effectLst/>
                <a:latin typeface="+mn-lt"/>
              </a:rPr>
              <a:t>⌘ </a:t>
            </a:r>
            <a:r>
              <a:rPr lang="nb-NO" altLang="da-DK" sz="12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+ option + ctrl + G</a:t>
            </a:r>
            <a:endParaRPr lang="nb-NO"/>
          </a:p>
          <a:p>
            <a:pPr eaLnBrk="1" hangingPunct="1">
              <a:spcAft>
                <a:spcPts val="600"/>
              </a:spcAft>
              <a:defRPr/>
            </a:pPr>
            <a:endParaRPr lang="nb-NO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sz="1600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Slides &amp; Slide elements</a:t>
            </a:r>
            <a:endParaRPr lang="nb-NO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altLang="da-DK" sz="12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redefined slides and elements using the Templafy pane. Choose </a:t>
            </a:r>
            <a:r>
              <a:rPr lang="nb-NO" altLang="da-DK" sz="12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s</a:t>
            </a:r>
            <a:r>
              <a:rPr lang="nb-NO" altLang="da-DK" sz="12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</a:t>
            </a:r>
            <a:r>
              <a:rPr lang="nb-NO" altLang="da-DK" sz="12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elements </a:t>
            </a:r>
            <a:r>
              <a:rPr lang="nb-NO" altLang="da-DK" sz="12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rom the buttons in the Templafy pane on the right side of the screen</a:t>
            </a:r>
            <a:endParaRPr lang="nb-NO" altLang="da-DK" sz="12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/>
          <p:nvPr userDrawn="1"/>
        </p:nvSpPr>
        <p:spPr>
          <a:xfrm>
            <a:off x="449264" y="634822"/>
            <a:ext cx="11199810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nb-NO" sz="3200" noProof="1">
                <a:latin typeface="+mj-lt"/>
                <a:cs typeface="Arial" panose="020B0604020202020204" pitchFamily="34" charset="0"/>
              </a:rPr>
              <a:t>U</a:t>
            </a:r>
            <a:r>
              <a:rPr lang="nb-NO" sz="3200" b="0" noProof="1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ser guide</a:t>
            </a:r>
            <a:endParaRPr lang="nb-NO"/>
          </a:p>
        </p:txBody>
      </p:sp>
      <p:pic>
        <p:nvPicPr>
          <p:cNvPr id="19" name="Picture 12">
            <a:extLst>
              <a:ext uri="{FF2B5EF4-FFF2-40B4-BE49-F238E27FC236}">
                <a16:creationId xmlns:a16="http://schemas.microsoft.com/office/drawing/2014/main" id="{D59A1415-DF88-48C2-BFBD-2900D34A9A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61792" y="1819829"/>
            <a:ext cx="378293" cy="543366"/>
          </a:xfrm>
          <a:prstGeom prst="rect">
            <a:avLst/>
          </a:prstGeom>
        </p:spPr>
      </p:pic>
      <p:sp>
        <p:nvSpPr>
          <p:cNvPr id="21" name="Text Box 4">
            <a:extLst>
              <a:ext uri="{FF2B5EF4-FFF2-40B4-BE49-F238E27FC236}">
                <a16:creationId xmlns:a16="http://schemas.microsoft.com/office/drawing/2014/main" id="{58A97632-535B-49AA-85C2-E4655C09629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217200" y="1219445"/>
            <a:ext cx="4392000" cy="4016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nb-NO" altLang="da-DK" sz="1600" kern="1200" noProof="1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Copy/Paste Content</a:t>
            </a:r>
            <a:endParaRPr lang="nb-NO"/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12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When copying old content to your new presentation, </a:t>
            </a:r>
            <a:br>
              <a:rPr lang="en-GB" altLang="da-DK" sz="12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nb-NO" altLang="da-DK" sz="12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 options are available:</a:t>
            </a:r>
            <a:endParaRPr lang="nb-NO"/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12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Best practice: </a:t>
            </a:r>
            <a:r>
              <a:rPr lang="nb-NO" altLang="da-DK" sz="12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eate a slide in your new presentation and copy </a:t>
            </a:r>
            <a:r>
              <a:rPr lang="nb-NO" altLang="da-DK" sz="1200" b="0" i="0" u="sng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nb-NO" altLang="da-DK" sz="1200" b="0" i="0" u="non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piece of content at a time (e.g. copy all text from </a:t>
            </a:r>
            <a:r>
              <a:rPr lang="nb-NO" altLang="da-DK" sz="1200" b="0" i="0" u="sng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nb-NO" altLang="da-DK" sz="1200" b="0" i="0" u="non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extbox)</a:t>
            </a:r>
            <a:endParaRPr lang="nb-NO" altLang="da-DK" sz="1200" b="1" i="0" u="sng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12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nb-NO" altLang="da-DK" sz="12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copy an entire slide into your new presentation and then choose a fitting layout. Remember to delete the old, wrong layouts (go to View &gt; Slidemaster and delete them)</a:t>
            </a:r>
            <a:endParaRPr lang="nb-NO"/>
          </a:p>
          <a:p>
            <a:pPr eaLnBrk="1" hangingPunct="1">
              <a:spcAft>
                <a:spcPts val="600"/>
              </a:spcAft>
              <a:defRPr/>
            </a:pPr>
            <a:endParaRPr lang="nb-NO" altLang="da-DK" sz="12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sz="1600" kern="1200" noProof="1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t>Custom Colors</a:t>
            </a:r>
            <a:endParaRPr lang="nb-NO"/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12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he colors in the upper red box are your graph colors.</a:t>
            </a:r>
            <a:endParaRPr lang="nb-NO"/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12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he bottom red box is your Custom Colors</a:t>
            </a:r>
            <a:endParaRPr lang="nb-NO"/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12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olors crossed out, should not be used.</a:t>
            </a:r>
            <a:endParaRPr lang="nb-NO"/>
          </a:p>
          <a:p>
            <a:pPr eaLnBrk="1" hangingPunct="1">
              <a:spcAft>
                <a:spcPts val="600"/>
              </a:spcAft>
              <a:defRPr/>
            </a:pPr>
            <a:endParaRPr lang="nb-NO" altLang="da-DK" sz="12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nb-NO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nb-NO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07BB923-1BF7-3D22-0E6A-2DDCAE019103}"/>
              </a:ext>
            </a:extLst>
          </p:cNvPr>
          <p:cNvGrpSpPr/>
          <p:nvPr userDrawn="1"/>
        </p:nvGrpSpPr>
        <p:grpSpPr>
          <a:xfrm>
            <a:off x="10040471" y="3593991"/>
            <a:ext cx="1193797" cy="2559695"/>
            <a:chOff x="9637263" y="2987311"/>
            <a:chExt cx="1678978" cy="3600000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D2790C76-78F5-5FF0-E568-8DAF6685387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9659098" y="2987311"/>
              <a:ext cx="1657143" cy="3600000"/>
            </a:xfrm>
            <a:prstGeom prst="rect">
              <a:avLst/>
            </a:prstGeom>
          </p:spPr>
        </p:pic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0A83530E-BCDC-416D-8E54-8E146F31B3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648752" y="3536900"/>
              <a:ext cx="1657143" cy="642609"/>
            </a:xfrm>
            <a:prstGeom prst="line">
              <a:avLst/>
            </a:prstGeom>
            <a:ln w="38100">
              <a:solidFill>
                <a:srgbClr val="CC474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1B2439B8-BD23-4BFA-8CD3-DFA07AB6F1B9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9648752" y="3536900"/>
              <a:ext cx="1656000" cy="642609"/>
            </a:xfrm>
            <a:prstGeom prst="line">
              <a:avLst/>
            </a:prstGeom>
            <a:ln w="38100">
              <a:solidFill>
                <a:srgbClr val="CC474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27FCDCB5-3FAA-4777-8EBC-F5433D7E569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637263" y="5733255"/>
              <a:ext cx="1656000" cy="259548"/>
            </a:xfrm>
            <a:prstGeom prst="line">
              <a:avLst/>
            </a:prstGeom>
            <a:ln w="38100">
              <a:solidFill>
                <a:srgbClr val="CC474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A0B72C76-E99B-4BD0-98A5-7BAC57D05EE2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9648752" y="5733255"/>
              <a:ext cx="1656000" cy="259548"/>
            </a:xfrm>
            <a:prstGeom prst="line">
              <a:avLst/>
            </a:prstGeom>
            <a:ln w="38100">
              <a:solidFill>
                <a:srgbClr val="CC474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65777EFE-5F8B-4508-803F-DEF8835CA9D2}"/>
                </a:ext>
              </a:extLst>
            </p:cNvPr>
            <p:cNvSpPr/>
            <p:nvPr userDrawn="1"/>
          </p:nvSpPr>
          <p:spPr>
            <a:xfrm>
              <a:off x="10321875" y="3260264"/>
              <a:ext cx="971388" cy="203776"/>
            </a:xfrm>
            <a:prstGeom prst="rect">
              <a:avLst/>
            </a:prstGeom>
            <a:noFill/>
            <a:ln w="19050">
              <a:solidFill>
                <a:srgbClr val="CC474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nb-NO" sz="1600" noProof="0" err="1">
                <a:solidFill>
                  <a:schemeClr val="tx2"/>
                </a:solidFill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7A93AE4C-61C8-4831-8826-940BE141E9BF}"/>
                </a:ext>
              </a:extLst>
            </p:cNvPr>
            <p:cNvSpPr/>
            <p:nvPr userDrawn="1"/>
          </p:nvSpPr>
          <p:spPr>
            <a:xfrm>
              <a:off x="9648752" y="4565498"/>
              <a:ext cx="1644511" cy="842970"/>
            </a:xfrm>
            <a:prstGeom prst="rect">
              <a:avLst/>
            </a:prstGeom>
            <a:noFill/>
            <a:ln w="19050">
              <a:solidFill>
                <a:srgbClr val="CC474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nb-NO" sz="1600" noProof="0" err="1">
                <a:solidFill>
                  <a:schemeClr val="tx2"/>
                </a:solidFill>
              </a:endParaRPr>
            </a:p>
          </p:txBody>
        </p:sp>
      </p:grpSp>
      <p:sp>
        <p:nvSpPr>
          <p:cNvPr id="30" name="Date Placeholder 6" hidden="1">
            <a:extLst>
              <a:ext uri="{FF2B5EF4-FFF2-40B4-BE49-F238E27FC236}">
                <a16:creationId xmlns:a16="http://schemas.microsoft.com/office/drawing/2014/main" id="{93509EEE-7461-4A52-B4A2-A2B1C4E48F2F}"/>
              </a:ext>
            </a:extLst>
          </p:cNvPr>
          <p:cNvSpPr>
            <a:spLocks noGrp="1"/>
          </p:cNvSpPr>
          <p:nvPr userDrawn="1">
            <p:ph type="dt" sz="half" idx="15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1F87E772-E5F0-4DAE-A926-DD22AE1FC7C6}" type="datetime3">
              <a:rPr lang="nb-NO" smtClean="0"/>
              <a:t>2024.02.14</a:t>
            </a:fld>
            <a:endParaRPr lang="nb-NO"/>
          </a:p>
        </p:txBody>
      </p:sp>
      <p:sp>
        <p:nvSpPr>
          <p:cNvPr id="31" name="Footer Placeholder 8" hidden="1">
            <a:extLst>
              <a:ext uri="{FF2B5EF4-FFF2-40B4-BE49-F238E27FC236}">
                <a16:creationId xmlns:a16="http://schemas.microsoft.com/office/drawing/2014/main" id="{04FBFFDD-91FD-4FB1-8AA5-633D6F8CCA8C}"/>
              </a:ext>
            </a:extLst>
          </p:cNvPr>
          <p:cNvSpPr>
            <a:spLocks noGrp="1"/>
          </p:cNvSpPr>
          <p:nvPr userDrawn="1">
            <p:ph type="ftr" sz="quarter" idx="16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Gjensidige Forsikring Group</a:t>
            </a:r>
          </a:p>
        </p:txBody>
      </p:sp>
      <p:sp>
        <p:nvSpPr>
          <p:cNvPr id="32" name="Slide Number Placeholder 10" hidden="1">
            <a:extLst>
              <a:ext uri="{FF2B5EF4-FFF2-40B4-BE49-F238E27FC236}">
                <a16:creationId xmlns:a16="http://schemas.microsoft.com/office/drawing/2014/main" id="{D443AB72-9BE8-43B6-A442-FA802909AB18}"/>
              </a:ext>
            </a:extLst>
          </p:cNvPr>
          <p:cNvSpPr>
            <a:spLocks noGrp="1"/>
          </p:cNvSpPr>
          <p:nvPr userDrawn="1">
            <p:ph type="sldNum" sz="quarter" idx="17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3E4027C-5B38-0F99-3EAD-E431B1C9258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49263" y="4928154"/>
            <a:ext cx="2338761" cy="8560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403763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nb-NO" sz="140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430213" y="656823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nb-NO" sz="4400" b="0" noProof="0">
                <a:solidFill>
                  <a:schemeClr val="bg1"/>
                </a:solidFill>
              </a:rPr>
              <a:t>If you see any </a:t>
            </a:r>
            <a:r>
              <a:rPr lang="nb-NO" sz="4400" b="1" i="1" noProof="0">
                <a:solidFill>
                  <a:schemeClr val="bg1"/>
                </a:solidFill>
              </a:rPr>
              <a:t>layouts after this </a:t>
            </a:r>
            <a:r>
              <a:rPr lang="nb-NO" sz="4400" b="0" i="0" noProof="0">
                <a:solidFill>
                  <a:schemeClr val="bg1"/>
                </a:solidFill>
              </a:rPr>
              <a:t>one,</a:t>
            </a:r>
            <a:br>
              <a:rPr lang="en-GB" sz="4400" b="0" i="0" noProof="0">
                <a:solidFill>
                  <a:schemeClr val="bg1"/>
                </a:solidFill>
              </a:rPr>
            </a:br>
            <a:r>
              <a:rPr lang="nb-NO" sz="4400" b="0" noProof="0">
                <a:solidFill>
                  <a:schemeClr val="bg1"/>
                </a:solidFill>
              </a:rPr>
              <a:t>do not use them. These layouts </a:t>
            </a:r>
            <a:r>
              <a:rPr lang="nb-NO" sz="4400" b="1" i="1" u="none" noProof="0">
                <a:solidFill>
                  <a:schemeClr val="bg1"/>
                </a:solidFill>
              </a:rPr>
              <a:t>are not </a:t>
            </a:r>
            <a:r>
              <a:rPr lang="nb-NO" sz="4400" b="0" noProof="0">
                <a:solidFill>
                  <a:schemeClr val="bg1"/>
                </a:solidFill>
              </a:rPr>
              <a:t>part of our corporate template.</a:t>
            </a:r>
            <a:br>
              <a:rPr lang="en-GB" sz="2800" b="0" noProof="0">
                <a:solidFill>
                  <a:schemeClr val="bg1"/>
                </a:solidFill>
              </a:rPr>
            </a:br>
            <a:br>
              <a:rPr lang="en-GB" sz="2800" b="0" noProof="0">
                <a:solidFill>
                  <a:schemeClr val="bg1"/>
                </a:solidFill>
              </a:rPr>
            </a:br>
            <a:endParaRPr lang="nb-NO" sz="2800" b="0" noProof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 bwMode="black"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 bwMode="black"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nb-NO" sz="140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 bwMode="black"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nb-NO" sz="140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430213" y="2588374"/>
            <a:ext cx="10152346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b-NO" sz="13800" b="1" i="1" noProof="0">
                <a:solidFill>
                  <a:schemeClr val="bg1"/>
                </a:solidFill>
              </a:rPr>
              <a:t>Do not use </a:t>
            </a:r>
            <a:endParaRPr lang="nb-NO" sz="2400" b="1" i="1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430214" y="5186455"/>
            <a:ext cx="11356974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nb-NO" sz="2000" b="0" noProof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  <a:endParaRPr lang="nb-NO"/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nb-NO" sz="2000" b="0" noProof="0">
                <a:solidFill>
                  <a:schemeClr val="bg1"/>
                </a:solidFill>
              </a:rPr>
              <a:t>Also notice: Layouts after this might contain potential confidential information.</a:t>
            </a:r>
            <a:br>
              <a:rPr lang="en-GB" sz="1800" b="0" noProof="0">
                <a:solidFill>
                  <a:schemeClr val="bg1"/>
                </a:solidFill>
              </a:rPr>
            </a:br>
            <a:endParaRPr lang="nb-NO" sz="1800" b="0" noProof="0">
              <a:solidFill>
                <a:schemeClr val="bg1"/>
              </a:solidFill>
            </a:endParaRPr>
          </a:p>
        </p:txBody>
      </p:sp>
      <p:sp>
        <p:nvSpPr>
          <p:cNvPr id="9" name="Date Placeholder 2" hidden="1">
            <a:extLst>
              <a:ext uri="{FF2B5EF4-FFF2-40B4-BE49-F238E27FC236}">
                <a16:creationId xmlns:a16="http://schemas.microsoft.com/office/drawing/2014/main" id="{B12B154D-76F1-409D-A798-AA5203EE7F4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6948963E-FD6F-456E-AE9C-27B9BD5C6383}" type="datetime3">
              <a:rPr lang="nb-NO" smtClean="0"/>
              <a:t>2024.02.14</a:t>
            </a:fld>
            <a:endParaRPr lang="nb-NO"/>
          </a:p>
        </p:txBody>
      </p:sp>
      <p:sp>
        <p:nvSpPr>
          <p:cNvPr id="10" name="Footer Placeholder 3" hidden="1">
            <a:extLst>
              <a:ext uri="{FF2B5EF4-FFF2-40B4-BE49-F238E27FC236}">
                <a16:creationId xmlns:a16="http://schemas.microsoft.com/office/drawing/2014/main" id="{7D212C3A-1726-4BC5-8AF1-72D08F6358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nb-NO"/>
              <a:t>Gjensidige Forsikring Group</a:t>
            </a:r>
          </a:p>
        </p:txBody>
      </p:sp>
      <p:sp>
        <p:nvSpPr>
          <p:cNvPr id="11" name="Slide Number Placeholder 4" hidden="1">
            <a:extLst>
              <a:ext uri="{FF2B5EF4-FFF2-40B4-BE49-F238E27FC236}">
                <a16:creationId xmlns:a16="http://schemas.microsoft.com/office/drawing/2014/main" id="{989D5CFC-5012-4F36-B4E7-CE36F67CD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flipV="1"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531462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A">
    <p:bg>
      <p:bgPr>
        <a:solidFill>
          <a:schemeClr val="accent3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8" hidden="1">
            <a:extLst>
              <a:ext uri="{FF2B5EF4-FFF2-40B4-BE49-F238E27FC236}">
                <a16:creationId xmlns:a16="http://schemas.microsoft.com/office/drawing/2014/main" id="{1B34E03E-D6A7-85B5-3DFB-89FA40ADF47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nb-NO"/>
              <a:t>Gjensidige Forsikring Group</a:t>
            </a:r>
          </a:p>
        </p:txBody>
      </p:sp>
      <p:sp>
        <p:nvSpPr>
          <p:cNvPr id="3" name="Slide Number Placeholder 10" hidden="1">
            <a:extLst>
              <a:ext uri="{FF2B5EF4-FFF2-40B4-BE49-F238E27FC236}">
                <a16:creationId xmlns:a16="http://schemas.microsoft.com/office/drawing/2014/main" id="{583E0894-C8FD-9E31-D2AA-463BC311C2B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5" name="Date Placeholder 6" hidden="1">
            <a:extLst>
              <a:ext uri="{FF2B5EF4-FFF2-40B4-BE49-F238E27FC236}">
                <a16:creationId xmlns:a16="http://schemas.microsoft.com/office/drawing/2014/main" id="{5271DEC1-68BE-BC95-069B-EBC2AC5828EC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BB0F90D0-DE3E-4713-B566-C06C7B4F28DA}" type="datetime3">
              <a:rPr lang="nb-NO" smtClean="0"/>
              <a:t>2024.02.14</a:t>
            </a:fld>
            <a:endParaRPr lang="nb-NO"/>
          </a:p>
        </p:txBody>
      </p:sp>
      <p:sp>
        <p:nvSpPr>
          <p:cNvPr id="4" name="Background">
            <a:extLst>
              <a:ext uri="{FF2B5EF4-FFF2-40B4-BE49-F238E27FC236}">
                <a16:creationId xmlns:a16="http://schemas.microsoft.com/office/drawing/2014/main" id="{0FE59CB4-D59E-4CB3-7802-D163B8EEF7BA}"/>
              </a:ext>
            </a:extLst>
          </p:cNvPr>
          <p:cNvSpPr/>
          <p:nvPr userDrawn="1"/>
        </p:nvSpPr>
        <p:spPr bwMode="white">
          <a:xfrm>
            <a:off x="0" y="0"/>
            <a:ext cx="12193200" cy="6858000"/>
          </a:xfrm>
          <a:prstGeom prst="rect">
            <a:avLst/>
          </a:prstGeom>
          <a:solidFill>
            <a:srgbClr val="CBBB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0" tIns="270000" rIns="270000" bIns="270000" rtlCol="0" anchor="ctr"/>
          <a:lstStyle/>
          <a:p>
            <a:pPr algn="ctr"/>
            <a:endParaRPr lang="nb-NO" sz="1600" noProof="0">
              <a:solidFill>
                <a:schemeClr val="bg1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AD353DF-DB37-059F-2D12-B853C8B0201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3714" y="1887560"/>
            <a:ext cx="11684570" cy="4100979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9002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nb-NO" dirty="0"/>
              <a:t>Replace this text and add chapter number in text box above</a:t>
            </a:r>
            <a:endParaRPr lang="nb-NO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89AA4133-AB50-B6DB-D135-74AA8C2C6B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0108" y="-3775571"/>
            <a:ext cx="11679893" cy="3775571"/>
          </a:xfrm>
        </p:spPr>
        <p:txBody>
          <a:bodyPr/>
          <a:lstStyle>
            <a:lvl1pPr algn="l">
              <a:defRPr sz="25605">
                <a:solidFill>
                  <a:srgbClr val="090C33"/>
                </a:solidFill>
              </a:defRPr>
            </a:lvl1pPr>
          </a:lstStyle>
          <a:p>
            <a:r>
              <a:rPr lang="nb-NO" dirty="0"/>
              <a:t>00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1716658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mph" presetSubtype="0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indefinite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"/>
                                      </p:to>
                                    </p:set>
                                    <p:animEffect filter="image" prLst="opacity: 0">
                                      <p:cBhvr rctx="IE">
                                        <p:cTn id="7" dur="indefinite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750"/>
                            </p:stCondLst>
                            <p:childTnLst>
                              <p:par>
                                <p:cTn id="9" presetID="42" presetClass="pat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7 1.48148E-6 L -4.16667E-7 0.75 " pathEditMode="relative" rAng="0" ptsTypes="AA">
                                      <p:cBhvr>
                                        <p:cTn id="10" dur="1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7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760"/>
                            </p:stCondLst>
                            <p:childTnLst>
                              <p:par>
                                <p:cTn id="12" presetID="9" presetClass="emph" presetSubtype="0" grpId="3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indefinite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1"/>
                                      </p:to>
                                    </p:set>
                                    <p:animEffect filter="image" prLst="opacity: 1">
                                      <p:cBhvr rctx="IE">
                                        <p:cTn id="14" dur="indefinite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7 0.75 L -0.00078 0.25972 " pathEditMode="relative" rAng="0" ptsTypes="AA">
                                      <p:cBhvr>
                                        <p:cTn id="18" dur="1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9" y="-24514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allAtOnce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/>
      <p:bldP spid="10" grpId="1"/>
      <p:bldP spid="10" grpId="2"/>
      <p:bldP spid="10" grpId="3"/>
    </p:bldLst>
  </p:timing>
  <p:extLst>
    <p:ext uri="{DCECCB84-F9BA-43D5-87BE-67443E8EF086}">
      <p15:sldGuideLst xmlns:p15="http://schemas.microsoft.com/office/powerpoint/2012/main">
        <p15:guide id="3" pos="159" userDrawn="1">
          <p15:clr>
            <a:srgbClr val="A4A3A4"/>
          </p15:clr>
        </p15:guide>
        <p15:guide id="4" pos="7520" userDrawn="1">
          <p15:clr>
            <a:srgbClr val="A4A3A4"/>
          </p15:clr>
        </p15:guide>
        <p15:guide id="5" orient="horz" pos="1188" userDrawn="1">
          <p15:clr>
            <a:srgbClr val="A4A3A4"/>
          </p15:clr>
        </p15:guide>
        <p15:guide id="6" orient="horz" pos="3773" userDrawn="1">
          <p15:clr>
            <a:srgbClr val="A4A3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slideLayout" Target="../slideLayouts/slideLayout84.xml"/><Relationship Id="rId89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5" Type="http://schemas.openxmlformats.org/officeDocument/2006/relationships/slideLayout" Target="../slideLayouts/slideLayout5.xml"/><Relationship Id="rId90" Type="http://schemas.openxmlformats.org/officeDocument/2006/relationships/theme" Target="../theme/theme1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slideLayout" Target="../slideLayouts/slideLayout77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91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0643F1B6-0743-4D14-8B95-B030120DE5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">
                <a:noFill/>
              </a:defRPr>
            </a:lvl1pPr>
          </a:lstStyle>
          <a:p>
            <a:fld id="{422FD456-FCAF-42A7-83AC-576433D435DC}" type="datetime3">
              <a:rPr lang="nb-NO" smtClean="0"/>
              <a:t>2024.02.14</a:t>
            </a:fld>
            <a:endParaRPr lang="nb-NO"/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E1FE528D-1E9B-5DCC-D4B9-90BFB4768291}"/>
              </a:ext>
            </a:extLst>
          </p:cNvPr>
          <p:cNvPicPr>
            <a:picLocks noChangeAspect="1"/>
          </p:cNvPicPr>
          <p:nvPr userDrawn="1"/>
        </p:nvPicPr>
        <p:blipFill>
          <a:blip r:embed="rId9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2"/>
              </a:ext>
            </a:extLst>
          </a:blip>
          <a:srcRect/>
          <a:stretch/>
        </p:blipFill>
        <p:spPr>
          <a:xfrm>
            <a:off x="11245816" y="371478"/>
            <a:ext cx="510924" cy="507204"/>
          </a:xfrm>
          <a:prstGeom prst="rect">
            <a:avLst/>
          </a:prstGeom>
        </p:spPr>
      </p:pic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622800"/>
            <a:ext cx="10184400" cy="9828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b-NO" dirty="0"/>
              <a:t>Click to add title maximum two lines</a:t>
            </a:r>
            <a:endParaRPr lang="nb-NO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0000" y="1951038"/>
            <a:ext cx="10792800" cy="38881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 noProof="0" dirty="0"/>
              <a:t>Level 1</a:t>
            </a:r>
            <a:endParaRPr lang="nb-NO"/>
          </a:p>
          <a:p>
            <a:pPr lvl="1"/>
            <a:r>
              <a:rPr lang="nb-NO" noProof="0" dirty="0"/>
              <a:t>Level 2</a:t>
            </a:r>
            <a:endParaRPr lang="nb-NO"/>
          </a:p>
          <a:p>
            <a:pPr lvl="2"/>
            <a:r>
              <a:rPr lang="nb-NO" noProof="0" dirty="0"/>
              <a:t>Level 3</a:t>
            </a:r>
            <a:endParaRPr lang="nb-NO"/>
          </a:p>
          <a:p>
            <a:pPr lvl="3"/>
            <a:r>
              <a:rPr lang="nb-NO" noProof="0" dirty="0"/>
              <a:t>Level 4, Header</a:t>
            </a:r>
            <a:endParaRPr lang="nb-NO"/>
          </a:p>
          <a:p>
            <a:pPr lvl="4"/>
            <a:r>
              <a:rPr lang="nb-NO" noProof="0" dirty="0"/>
              <a:t>Level 5, Body</a:t>
            </a:r>
            <a:endParaRPr lang="nb-NO"/>
          </a:p>
          <a:p>
            <a:pPr lvl="5"/>
            <a:r>
              <a:rPr lang="nb-NO" noProof="0" dirty="0"/>
              <a:t>Level 6</a:t>
            </a:r>
            <a:endParaRPr lang="nb-NO"/>
          </a:p>
          <a:p>
            <a:pPr lvl="6"/>
            <a:r>
              <a:rPr lang="nb-NO" noProof="0" dirty="0"/>
              <a:t>Level 7, Small Header</a:t>
            </a:r>
            <a:endParaRPr lang="nb-NO"/>
          </a:p>
          <a:p>
            <a:pPr lvl="7"/>
            <a:r>
              <a:rPr lang="nb-NO" noProof="0" dirty="0"/>
              <a:t>Level 8, Small Body</a:t>
            </a:r>
            <a:endParaRPr lang="nb-NO"/>
          </a:p>
          <a:p>
            <a:pPr lvl="8"/>
            <a:r>
              <a:rPr lang="nb-NO" noProof="0" dirty="0"/>
              <a:t>Level 9, Infographic</a:t>
            </a:r>
            <a:endParaRPr lang="nb-NO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460BDC-2796-43E8-A075-B3BFBC3B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809200" y="6188400"/>
            <a:ext cx="2055600" cy="3096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00">
                <a:solidFill>
                  <a:srgbClr val="090C33"/>
                </a:solidFill>
              </a:defRPr>
            </a:lvl1pPr>
          </a:lstStyle>
          <a:p>
            <a:r>
              <a:rPr lang="nb-NO"/>
              <a:t>Gjensidige Forsikring Group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42516E-ED5A-4F68-B285-E8D0CC42F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65600" y="6188400"/>
            <a:ext cx="277200" cy="3096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00">
                <a:solidFill>
                  <a:srgbClr val="090C33"/>
                </a:solidFill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CBCE3A3C-9383-48D1-E0BE-29B4D382AE0F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1449388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nb-NO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assified: General Business</a:t>
            </a:r>
          </a:p>
        </p:txBody>
      </p: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  <p:sldLayoutId id="2147483856" r:id="rId2"/>
    <p:sldLayoutId id="2147483857" r:id="rId3"/>
    <p:sldLayoutId id="2147483858" r:id="rId4"/>
    <p:sldLayoutId id="2147483859" r:id="rId5"/>
    <p:sldLayoutId id="2147483860" r:id="rId6"/>
    <p:sldLayoutId id="2147483861" r:id="rId7"/>
    <p:sldLayoutId id="2147483862" r:id="rId8"/>
    <p:sldLayoutId id="2147483868" r:id="rId9"/>
    <p:sldLayoutId id="2147483869" r:id="rId10"/>
    <p:sldLayoutId id="2147483870" r:id="rId11"/>
    <p:sldLayoutId id="2147483871" r:id="rId12"/>
    <p:sldLayoutId id="2147483872" r:id="rId13"/>
    <p:sldLayoutId id="2147483906" r:id="rId14"/>
    <p:sldLayoutId id="2147483732" r:id="rId15"/>
    <p:sldLayoutId id="2147483822" r:id="rId16"/>
    <p:sldLayoutId id="2147483824" r:id="rId17"/>
    <p:sldLayoutId id="2147483823" r:id="rId18"/>
    <p:sldLayoutId id="2147483826" r:id="rId19"/>
    <p:sldLayoutId id="2147483825" r:id="rId20"/>
    <p:sldLayoutId id="2147483903" r:id="rId21"/>
    <p:sldLayoutId id="2147483827" r:id="rId22"/>
    <p:sldLayoutId id="2147483828" r:id="rId23"/>
    <p:sldLayoutId id="2147483829" r:id="rId24"/>
    <p:sldLayoutId id="2147483831" r:id="rId25"/>
    <p:sldLayoutId id="2147483833" r:id="rId26"/>
    <p:sldLayoutId id="2147483832" r:id="rId27"/>
    <p:sldLayoutId id="2147483835" r:id="rId28"/>
    <p:sldLayoutId id="2147483836" r:id="rId29"/>
    <p:sldLayoutId id="2147483780" r:id="rId30"/>
    <p:sldLayoutId id="2147483781" r:id="rId31"/>
    <p:sldLayoutId id="2147483837" r:id="rId32"/>
    <p:sldLayoutId id="2147483838" r:id="rId33"/>
    <p:sldLayoutId id="2147483839" r:id="rId34"/>
    <p:sldLayoutId id="2147483840" r:id="rId35"/>
    <p:sldLayoutId id="2147483841" r:id="rId36"/>
    <p:sldLayoutId id="2147483842" r:id="rId37"/>
    <p:sldLayoutId id="2147483844" r:id="rId38"/>
    <p:sldLayoutId id="2147483843" r:id="rId39"/>
    <p:sldLayoutId id="2147483790" r:id="rId40"/>
    <p:sldLayoutId id="2147483845" r:id="rId41"/>
    <p:sldLayoutId id="2147483789" r:id="rId42"/>
    <p:sldLayoutId id="2147483792" r:id="rId43"/>
    <p:sldLayoutId id="2147483846" r:id="rId44"/>
    <p:sldLayoutId id="2147483791" r:id="rId45"/>
    <p:sldLayoutId id="2147483793" r:id="rId46"/>
    <p:sldLayoutId id="2147483847" r:id="rId47"/>
    <p:sldLayoutId id="2147483794" r:id="rId48"/>
    <p:sldLayoutId id="2147483849" r:id="rId49"/>
    <p:sldLayoutId id="2147483795" r:id="rId50"/>
    <p:sldLayoutId id="2147483850" r:id="rId51"/>
    <p:sldLayoutId id="2147483796" r:id="rId52"/>
    <p:sldLayoutId id="2147483797" r:id="rId53"/>
    <p:sldLayoutId id="2147483853" r:id="rId54"/>
    <p:sldLayoutId id="2147483852" r:id="rId55"/>
    <p:sldLayoutId id="2147483851" r:id="rId56"/>
    <p:sldLayoutId id="2147483799" r:id="rId57"/>
    <p:sldLayoutId id="2147483800" r:id="rId58"/>
    <p:sldLayoutId id="2147483801" r:id="rId59"/>
    <p:sldLayoutId id="2147483739" r:id="rId60"/>
    <p:sldLayoutId id="2147483802" r:id="rId61"/>
    <p:sldLayoutId id="2147483881" r:id="rId62"/>
    <p:sldLayoutId id="2147483873" r:id="rId63"/>
    <p:sldLayoutId id="2147483882" r:id="rId64"/>
    <p:sldLayoutId id="2147483883" r:id="rId65"/>
    <p:sldLayoutId id="2147483884" r:id="rId66"/>
    <p:sldLayoutId id="2147483885" r:id="rId67"/>
    <p:sldLayoutId id="2147483886" r:id="rId68"/>
    <p:sldLayoutId id="2147483887" r:id="rId69"/>
    <p:sldLayoutId id="2147483888" r:id="rId70"/>
    <p:sldLayoutId id="2147483889" r:id="rId71"/>
    <p:sldLayoutId id="2147483890" r:id="rId72"/>
    <p:sldLayoutId id="2147483891" r:id="rId73"/>
    <p:sldLayoutId id="2147483892" r:id="rId74"/>
    <p:sldLayoutId id="2147483893" r:id="rId75"/>
    <p:sldLayoutId id="2147483894" r:id="rId76"/>
    <p:sldLayoutId id="2147483895" r:id="rId77"/>
    <p:sldLayoutId id="2147483896" r:id="rId78"/>
    <p:sldLayoutId id="2147483897" r:id="rId79"/>
    <p:sldLayoutId id="2147483899" r:id="rId80"/>
    <p:sldLayoutId id="2147483900" r:id="rId81"/>
    <p:sldLayoutId id="2147483902" r:id="rId82"/>
    <p:sldLayoutId id="2147483743" r:id="rId83"/>
    <p:sldLayoutId id="2147483854" r:id="rId84"/>
    <p:sldLayoutId id="2147483744" r:id="rId85"/>
    <p:sldLayoutId id="2147483898" r:id="rId86"/>
    <p:sldLayoutId id="2147483904" r:id="rId87"/>
    <p:sldLayoutId id="2147483905" r:id="rId88"/>
    <p:sldLayoutId id="2147483751" r:id="rId89"/>
  </p:sldLayoutIdLst>
  <p:hf hdr="0" dt="0"/>
  <p:txStyles>
    <p:titleStyle>
      <a:lvl1pPr algn="l" defTabSz="914400" rtl="0" eaLnBrk="1" latinLnBrk="0" hangingPunct="1">
        <a:lnSpc>
          <a:spcPct val="101000"/>
        </a:lnSpc>
        <a:spcBef>
          <a:spcPct val="0"/>
        </a:spcBef>
        <a:buNone/>
        <a:defRPr sz="3200" b="0" kern="1200">
          <a:solidFill>
            <a:srgbClr val="090C33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00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rgbClr val="090C33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90000"/>
        </a:lnSpc>
        <a:spcBef>
          <a:spcPts val="50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rgbClr val="090C33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90000"/>
        </a:lnSpc>
        <a:spcBef>
          <a:spcPts val="50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rgbClr val="090C33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1800"/>
        </a:spcBef>
        <a:spcAft>
          <a:spcPts val="0"/>
        </a:spcAft>
        <a:buFont typeface="Arial" panose="020B0604020202020204" pitchFamily="34" charset="0"/>
        <a:buChar char="​"/>
        <a:defRPr sz="1600" b="1" kern="1200">
          <a:solidFill>
            <a:srgbClr val="090C33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spcAft>
          <a:spcPts val="0"/>
        </a:spcAft>
        <a:buFont typeface="Arial" panose="020B0604020202020204" pitchFamily="34" charset="0"/>
        <a:buChar char="​"/>
        <a:tabLst/>
        <a:defRPr sz="1600" kern="1200">
          <a:solidFill>
            <a:srgbClr val="090C33"/>
          </a:solidFill>
          <a:latin typeface="+mn-lt"/>
          <a:ea typeface="+mn-ea"/>
          <a:cs typeface="+mn-cs"/>
        </a:defRPr>
      </a:lvl5pPr>
      <a:lvl6pPr marL="180000" indent="-180000" algn="l" defTabSz="914400" rtl="0" eaLnBrk="1" latinLnBrk="0" hangingPunct="1">
        <a:lnSpc>
          <a:spcPct val="90000"/>
        </a:lnSpc>
        <a:spcBef>
          <a:spcPts val="500"/>
        </a:spcBef>
        <a:spcAft>
          <a:spcPts val="0"/>
        </a:spcAft>
        <a:buFont typeface="Arial" panose="020B0604020202020204" pitchFamily="34" charset="0"/>
        <a:buChar char="•"/>
        <a:defRPr sz="1200" kern="1200">
          <a:solidFill>
            <a:srgbClr val="090C33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1800"/>
        </a:spcBef>
        <a:spcAft>
          <a:spcPts val="0"/>
        </a:spcAft>
        <a:buFont typeface="Arial" panose="020B0604020202020204" pitchFamily="34" charset="0"/>
        <a:buChar char="​"/>
        <a:defRPr sz="1200" b="1" kern="1200" baseline="0">
          <a:solidFill>
            <a:srgbClr val="090C33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spcAft>
          <a:spcPts val="0"/>
        </a:spcAft>
        <a:buFont typeface="Arial" panose="020B0604020202020204" pitchFamily="34" charset="0"/>
        <a:buChar char="​"/>
        <a:defRPr sz="1200" kern="1200">
          <a:solidFill>
            <a:srgbClr val="090C33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​"/>
        <a:defRPr sz="6600" kern="1200" baseline="0">
          <a:solidFill>
            <a:srgbClr val="090C33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3" userDrawn="1">
          <p15:clr>
            <a:srgbClr val="A4A3A4"/>
          </p15:clr>
        </p15:guide>
        <p15:guide id="3" orient="horz" pos="229" userDrawn="1">
          <p15:clr>
            <a:srgbClr val="A4A3A4"/>
          </p15:clr>
        </p15:guide>
        <p15:guide id="5" orient="horz" pos="392" userDrawn="1">
          <p15:clr>
            <a:srgbClr val="A4A3A4"/>
          </p15:clr>
        </p15:guide>
        <p15:guide id="7" pos="7082" userDrawn="1">
          <p15:clr>
            <a:srgbClr val="A4A3A4"/>
          </p15:clr>
        </p15:guide>
        <p15:guide id="9" orient="horz" pos="3678" userDrawn="1">
          <p15:clr>
            <a:srgbClr val="A4A3A4"/>
          </p15:clr>
        </p15:guide>
        <p15:guide id="11" orient="horz" pos="3898" userDrawn="1">
          <p15:clr>
            <a:srgbClr val="A4A3A4"/>
          </p15:clr>
        </p15:guide>
        <p15:guide id="12" orient="horz" pos="4097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customXml" Target="../../customXml/item6.xml"/><Relationship Id="rId1" Type="http://schemas.openxmlformats.org/officeDocument/2006/relationships/customXml" Target="../../customXml/item5.xml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gi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3.xml"/><Relationship Id="rId6" Type="http://schemas.openxmlformats.org/officeDocument/2006/relationships/image" Target="../media/image45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44.jp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13" Type="http://schemas.openxmlformats.org/officeDocument/2006/relationships/image" Target="../media/image51.svg"/><Relationship Id="rId18" Type="http://schemas.openxmlformats.org/officeDocument/2006/relationships/image" Target="../media/image56.png"/><Relationship Id="rId3" Type="http://schemas.openxmlformats.org/officeDocument/2006/relationships/diagramData" Target="../diagrams/data1.xml"/><Relationship Id="rId21" Type="http://schemas.openxmlformats.org/officeDocument/2006/relationships/image" Target="../media/image59.svg"/><Relationship Id="rId7" Type="http://schemas.microsoft.com/office/2007/relationships/diagramDrawing" Target="../diagrams/drawing1.xml"/><Relationship Id="rId12" Type="http://schemas.openxmlformats.org/officeDocument/2006/relationships/image" Target="../media/image50.png"/><Relationship Id="rId17" Type="http://schemas.openxmlformats.org/officeDocument/2006/relationships/image" Target="../media/image55.svg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54.png"/><Relationship Id="rId20" Type="http://schemas.openxmlformats.org/officeDocument/2006/relationships/image" Target="../media/image58.png"/><Relationship Id="rId1" Type="http://schemas.openxmlformats.org/officeDocument/2006/relationships/slideLayout" Target="../slideLayouts/slideLayout16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49.svg"/><Relationship Id="rId5" Type="http://schemas.openxmlformats.org/officeDocument/2006/relationships/diagramQuickStyle" Target="../diagrams/quickStyle1.xml"/><Relationship Id="rId15" Type="http://schemas.openxmlformats.org/officeDocument/2006/relationships/image" Target="../media/image53.svg"/><Relationship Id="rId10" Type="http://schemas.openxmlformats.org/officeDocument/2006/relationships/image" Target="../media/image48.png"/><Relationship Id="rId19" Type="http://schemas.openxmlformats.org/officeDocument/2006/relationships/image" Target="../media/image57.svg"/><Relationship Id="rId4" Type="http://schemas.openxmlformats.org/officeDocument/2006/relationships/diagramLayout" Target="../diagrams/layout1.xml"/><Relationship Id="rId9" Type="http://schemas.openxmlformats.org/officeDocument/2006/relationships/image" Target="../media/image47.svg"/><Relationship Id="rId14" Type="http://schemas.openxmlformats.org/officeDocument/2006/relationships/image" Target="../media/image5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2" Type="http://schemas.openxmlformats.org/officeDocument/2006/relationships/customXml" Target="../../customXml/item10.xml"/><Relationship Id="rId1" Type="http://schemas.openxmlformats.org/officeDocument/2006/relationships/customXml" Target="../../customXml/item9.xml"/><Relationship Id="rId5" Type="http://schemas.openxmlformats.org/officeDocument/2006/relationships/image" Target="../media/image60.jpeg"/><Relationship Id="rId4" Type="http://schemas.openxmlformats.org/officeDocument/2006/relationships/notesSlide" Target="../notesSlides/notesSlide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2" Type="http://schemas.openxmlformats.org/officeDocument/2006/relationships/customXml" Target="../../customXml/item12.xml"/><Relationship Id="rId1" Type="http://schemas.openxmlformats.org/officeDocument/2006/relationships/customXml" Target="../../customXml/item11.xml"/><Relationship Id="rId5" Type="http://schemas.openxmlformats.org/officeDocument/2006/relationships/image" Target="../media/image60.jpeg"/><Relationship Id="rId4" Type="http://schemas.openxmlformats.org/officeDocument/2006/relationships/notesSlide" Target="../notesSlides/notesSlide1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3.xml"/><Relationship Id="rId13" Type="http://schemas.openxmlformats.org/officeDocument/2006/relationships/customXml" Target="../ink/ink1.xml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12" Type="http://schemas.microsoft.com/office/2007/relationships/diagramDrawing" Target="../diagrams/drawing3.xml"/><Relationship Id="rId2" Type="http://schemas.openxmlformats.org/officeDocument/2006/relationships/notesSlide" Target="../notesSlides/notesSlide12.xml"/><Relationship Id="rId16" Type="http://schemas.openxmlformats.org/officeDocument/2006/relationships/image" Target="../media/image77.png"/><Relationship Id="rId1" Type="http://schemas.openxmlformats.org/officeDocument/2006/relationships/slideLayout" Target="../slideLayouts/slideLayout15.xml"/><Relationship Id="rId6" Type="http://schemas.openxmlformats.org/officeDocument/2006/relationships/diagramColors" Target="../diagrams/colors2.xml"/><Relationship Id="rId11" Type="http://schemas.openxmlformats.org/officeDocument/2006/relationships/diagramColors" Target="../diagrams/colors3.xml"/><Relationship Id="rId5" Type="http://schemas.openxmlformats.org/officeDocument/2006/relationships/diagramQuickStyle" Target="../diagrams/quickStyle2.xml"/><Relationship Id="rId15" Type="http://schemas.openxmlformats.org/officeDocument/2006/relationships/customXml" Target="../ink/ink2.xml"/><Relationship Id="rId10" Type="http://schemas.openxmlformats.org/officeDocument/2006/relationships/diagramQuickStyle" Target="../diagrams/quickStyle3.xml"/><Relationship Id="rId4" Type="http://schemas.openxmlformats.org/officeDocument/2006/relationships/diagramLayout" Target="../diagrams/layout2.xml"/><Relationship Id="rId9" Type="http://schemas.openxmlformats.org/officeDocument/2006/relationships/diagramLayout" Target="../diagrams/layout3.xml"/><Relationship Id="rId14" Type="http://schemas.openxmlformats.org/officeDocument/2006/relationships/image" Target="../media/image7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svg"/><Relationship Id="rId7" Type="http://schemas.openxmlformats.org/officeDocument/2006/relationships/image" Target="../media/image66.sv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65.png"/><Relationship Id="rId5" Type="http://schemas.openxmlformats.org/officeDocument/2006/relationships/image" Target="../media/image64.svg"/><Relationship Id="rId4" Type="http://schemas.openxmlformats.org/officeDocument/2006/relationships/image" Target="../media/image6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svg"/><Relationship Id="rId7" Type="http://schemas.openxmlformats.org/officeDocument/2006/relationships/image" Target="../media/image68.sv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67.png"/><Relationship Id="rId5" Type="http://schemas.openxmlformats.org/officeDocument/2006/relationships/image" Target="../media/image64.svg"/><Relationship Id="rId4" Type="http://schemas.openxmlformats.org/officeDocument/2006/relationships/image" Target="../media/image63.png"/></Relationships>
</file>

<file path=ppt/slides/_rels/slide1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4.xml"/><Relationship Id="rId3" Type="http://schemas.openxmlformats.org/officeDocument/2006/relationships/slideLayout" Target="../slideLayouts/slideLayout15.xml"/><Relationship Id="rId7" Type="http://schemas.openxmlformats.org/officeDocument/2006/relationships/diagramColors" Target="../diagrams/colors4.xml"/><Relationship Id="rId2" Type="http://schemas.openxmlformats.org/officeDocument/2006/relationships/customXml" Target="../../customXml/item14.xml"/><Relationship Id="rId1" Type="http://schemas.openxmlformats.org/officeDocument/2006/relationships/customXml" Target="../../customXml/item13.xml"/><Relationship Id="rId6" Type="http://schemas.openxmlformats.org/officeDocument/2006/relationships/diagramQuickStyle" Target="../diagrams/quickStyle4.xml"/><Relationship Id="rId5" Type="http://schemas.openxmlformats.org/officeDocument/2006/relationships/diagramLayout" Target="../diagrams/layout4.xml"/><Relationship Id="rId4" Type="http://schemas.openxmlformats.org/officeDocument/2006/relationships/diagramData" Target="../diagrams/data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32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media" Target="../media/media1.mp4"/><Relationship Id="rId2" Type="http://schemas.openxmlformats.org/officeDocument/2006/relationships/customXml" Target="../../customXml/item8.xml"/><Relationship Id="rId1" Type="http://schemas.openxmlformats.org/officeDocument/2006/relationships/customXml" Target="../../customXml/item7.xml"/><Relationship Id="rId6" Type="http://schemas.openxmlformats.org/officeDocument/2006/relationships/image" Target="../media/image27.bin"/><Relationship Id="rId5" Type="http://schemas.openxmlformats.org/officeDocument/2006/relationships/slideLayout" Target="../slideLayouts/slideLayout61.xml"/><Relationship Id="rId4" Type="http://schemas.openxmlformats.org/officeDocument/2006/relationships/video" Target="../media/media1.mp4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2.xml"/></Relationships>
</file>

<file path=ppt/slides/_rels/slide21.xml.rels><?xml version="1.0" encoding="UTF-8" standalone="yes"?>
<Relationships xmlns="http://schemas.openxmlformats.org/package/2006/relationships"><Relationship Id="rId3" Type="http://schemas.microsoft.com/office/2007/relationships/media" Target="../media/media2.mp4"/><Relationship Id="rId2" Type="http://schemas.openxmlformats.org/officeDocument/2006/relationships/customXml" Target="../../customXml/item16.xml"/><Relationship Id="rId1" Type="http://schemas.openxmlformats.org/officeDocument/2006/relationships/customXml" Target="../../customXml/item15.xml"/><Relationship Id="rId6" Type="http://schemas.openxmlformats.org/officeDocument/2006/relationships/image" Target="../media/image71.bin"/><Relationship Id="rId5" Type="http://schemas.openxmlformats.org/officeDocument/2006/relationships/slideLayout" Target="../slideLayouts/slideLayout61.xml"/><Relationship Id="rId4" Type="http://schemas.openxmlformats.org/officeDocument/2006/relationships/video" Target="../media/media2.mp4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2.xml"/><Relationship Id="rId2" Type="http://schemas.openxmlformats.org/officeDocument/2006/relationships/customXml" Target="../../customXml/item18.xml"/><Relationship Id="rId1" Type="http://schemas.openxmlformats.org/officeDocument/2006/relationships/customXml" Target="../../customXml/item1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7.xml"/><Relationship Id="rId2" Type="http://schemas.openxmlformats.org/officeDocument/2006/relationships/customXml" Target="../../customXml/item20.xml"/><Relationship Id="rId1" Type="http://schemas.openxmlformats.org/officeDocument/2006/relationships/customXml" Target="../../customXml/item1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8.xml"/><Relationship Id="rId2" Type="http://schemas.openxmlformats.org/officeDocument/2006/relationships/customXml" Target="../../customXml/item22.xml"/><Relationship Id="rId1" Type="http://schemas.openxmlformats.org/officeDocument/2006/relationships/customXml" Target="../../customXml/item21.xml"/><Relationship Id="rId4" Type="http://schemas.openxmlformats.org/officeDocument/2006/relationships/notesSlide" Target="../notesSlides/notesSlide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5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31.jpeg"/><Relationship Id="rId12" Type="http://schemas.openxmlformats.org/officeDocument/2006/relationships/image" Target="../media/image35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.xml"/><Relationship Id="rId6" Type="http://schemas.openxmlformats.org/officeDocument/2006/relationships/image" Target="../media/image30.jpeg"/><Relationship Id="rId11" Type="http://schemas.openxmlformats.org/officeDocument/2006/relationships/image" Target="../media/image34.png"/><Relationship Id="rId5" Type="http://schemas.openxmlformats.org/officeDocument/2006/relationships/image" Target="../media/image29.emf"/><Relationship Id="rId10" Type="http://schemas.openxmlformats.org/officeDocument/2006/relationships/image" Target="../media/image33.svg"/><Relationship Id="rId4" Type="http://schemas.openxmlformats.org/officeDocument/2006/relationships/oleObject" Target="../embeddings/oleObject1.bin"/><Relationship Id="rId9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13" Type="http://schemas.openxmlformats.org/officeDocument/2006/relationships/image" Target="../media/image36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31.jpeg"/><Relationship Id="rId12" Type="http://schemas.openxmlformats.org/officeDocument/2006/relationships/image" Target="../media/image35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.xml"/><Relationship Id="rId6" Type="http://schemas.openxmlformats.org/officeDocument/2006/relationships/image" Target="../media/image30.jpeg"/><Relationship Id="rId11" Type="http://schemas.openxmlformats.org/officeDocument/2006/relationships/image" Target="../media/image34.png"/><Relationship Id="rId5" Type="http://schemas.openxmlformats.org/officeDocument/2006/relationships/image" Target="../media/image29.emf"/><Relationship Id="rId10" Type="http://schemas.openxmlformats.org/officeDocument/2006/relationships/image" Target="../media/image33.svg"/><Relationship Id="rId4" Type="http://schemas.openxmlformats.org/officeDocument/2006/relationships/oleObject" Target="../embeddings/oleObject2.bin"/><Relationship Id="rId9" Type="http://schemas.openxmlformats.org/officeDocument/2006/relationships/image" Target="../media/image13.png"/><Relationship Id="rId14" Type="http://schemas.openxmlformats.org/officeDocument/2006/relationships/image" Target="../media/image37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4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551BB0A-7472-A9C1-59D4-51EB1AAC9AE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b-NO" dirty="0"/>
              <a:t>Gjensidige Forsikring Group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B79C683-24A6-91C0-8A86-3E59106D83B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nb-NO" smtClean="0"/>
              <a:pPr/>
              <a:t>1</a:t>
            </a:fld>
            <a:endParaRPr lang="nb-NO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49E693F-5222-4E91-E801-CC3A97731F2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sz="7200" noProof="0" dirty="0"/>
              <a:t>Møt </a:t>
            </a:r>
            <a:r>
              <a:rPr lang="nb-NO" sz="7200" noProof="0" dirty="0" err="1"/>
              <a:t>Eglev</a:t>
            </a:r>
            <a:r>
              <a:rPr lang="nb-NO" sz="7200" noProof="0" dirty="0"/>
              <a:t> – vår LLM analytiker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767B663C-A088-0B1C-78E0-DD97E986584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b-NO" noProof="0"/>
              <a:t>Alexandra Diem / Head of Cloud Analytics &amp; MLOps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420621177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E755596-2EF0-2123-C052-8906F44336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Eglev in action</a:t>
            </a:r>
          </a:p>
        </p:txBody>
      </p:sp>
      <p:sp>
        <p:nvSpPr>
          <p:cNvPr id="11" name="Plassholder for bunntekst 10">
            <a:extLst>
              <a:ext uri="{FF2B5EF4-FFF2-40B4-BE49-F238E27FC236}">
                <a16:creationId xmlns:a16="http://schemas.microsoft.com/office/drawing/2014/main" id="{6E6A599B-21BF-C464-76BB-B505A1FA8C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12" name="Plassholder for lysbildenummer 11">
            <a:extLst>
              <a:ext uri="{FF2B5EF4-FFF2-40B4-BE49-F238E27FC236}">
                <a16:creationId xmlns:a16="http://schemas.microsoft.com/office/drawing/2014/main" id="{032A1BF8-2F7D-8884-CDB8-BCCBC72A29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nb-NO" smtClean="0"/>
              <a:t>10</a:t>
            </a:fld>
            <a:endParaRPr lang="nb-NO"/>
          </a:p>
        </p:txBody>
      </p:sp>
      <p:pic>
        <p:nvPicPr>
          <p:cNvPr id="13" name="Plassholder for innhold 12" descr="Et bilde som inneholder tekst, Menneskeansikt, skjermbilde, person">
            <a:extLst>
              <a:ext uri="{FF2B5EF4-FFF2-40B4-BE49-F238E27FC236}">
                <a16:creationId xmlns:a16="http://schemas.microsoft.com/office/drawing/2014/main" id="{FE507039-9049-94C9-C453-F6F9260D67C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769" y="0"/>
            <a:ext cx="8588231" cy="6858000"/>
          </a:xfrm>
        </p:spPr>
      </p:pic>
    </p:spTree>
    <p:extLst>
      <p:ext uri="{BB962C8B-B14F-4D97-AF65-F5344CB8AC3E}">
        <p14:creationId xmlns:p14="http://schemas.microsoft.com/office/powerpoint/2010/main" val="40682695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Bilde 26" descr="Et bilde som inneholder tekst, diagram, plan, Font&#10;&#10;Automatisk generert beskrivelse">
            <a:extLst>
              <a:ext uri="{FF2B5EF4-FFF2-40B4-BE49-F238E27FC236}">
                <a16:creationId xmlns:a16="http://schemas.microsoft.com/office/drawing/2014/main" id="{1853D679-86CD-9989-82D8-964BF5D89F4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9595" y="0"/>
            <a:ext cx="7145209" cy="6858000"/>
          </a:xfrm>
          <a:prstGeom prst="rect">
            <a:avLst/>
          </a:prstGeom>
        </p:spPr>
      </p:pic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A3B7AF7F-8B8C-C7C0-C8F6-B64B92E4F80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3B7AF7F-8B8C-C7C0-C8F6-B64B92E4F8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8EA94C35-466F-DF46-1BC1-BE696F4CE7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noProof="0" dirty="0"/>
              <a:t>Architecture </a:t>
            </a:r>
          </a:p>
        </p:txBody>
      </p:sp>
      <p:sp>
        <p:nvSpPr>
          <p:cNvPr id="5" name="Undertittel 4">
            <a:extLst>
              <a:ext uri="{FF2B5EF4-FFF2-40B4-BE49-F238E27FC236}">
                <a16:creationId xmlns:a16="http://schemas.microsoft.com/office/drawing/2014/main" id="{11774BFF-1DE4-0157-63AB-7373A5010E32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nb-NO" dirty="0"/>
              <a:t>Møt </a:t>
            </a:r>
            <a:r>
              <a:rPr lang="nb-NO" dirty="0" err="1"/>
              <a:t>Eglev</a:t>
            </a:r>
            <a:r>
              <a:rPr lang="nb-NO" dirty="0"/>
              <a:t> – vår LLM analytiker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566BD873-ABDD-FB05-3AFB-230E134085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noProof="0"/>
              <a:t>Process flow</a:t>
            </a:r>
          </a:p>
        </p:txBody>
      </p:sp>
      <p:sp>
        <p:nvSpPr>
          <p:cNvPr id="11" name="Plassholder for bunntekst 10">
            <a:extLst>
              <a:ext uri="{FF2B5EF4-FFF2-40B4-BE49-F238E27FC236}">
                <a16:creationId xmlns:a16="http://schemas.microsoft.com/office/drawing/2014/main" id="{0E9D534F-A7B7-3395-0DFC-48A812884C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12" name="Plassholder for lysbildenummer 11">
            <a:extLst>
              <a:ext uri="{FF2B5EF4-FFF2-40B4-BE49-F238E27FC236}">
                <a16:creationId xmlns:a16="http://schemas.microsoft.com/office/drawing/2014/main" id="{291DEFA3-D873-6F34-6C67-A60B5427F6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nb-NO" smtClean="0"/>
              <a:t>1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681065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tel 12">
            <a:extLst>
              <a:ext uri="{FF2B5EF4-FFF2-40B4-BE49-F238E27FC236}">
                <a16:creationId xmlns:a16="http://schemas.microsoft.com/office/drawing/2014/main" id="{282EC209-0BAE-7561-FB61-E8F156831C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Fra ide </a:t>
            </a:r>
            <a:r>
              <a:rPr lang="nb-NO" noProof="0" dirty="0"/>
              <a:t>til</a:t>
            </a:r>
            <a:r>
              <a:rPr lang="en-US" noProof="0" dirty="0"/>
              <a:t> </a:t>
            </a:r>
            <a:r>
              <a:rPr lang="en-US" dirty="0" err="1"/>
              <a:t>produkt</a:t>
            </a:r>
            <a:r>
              <a:rPr lang="en-US" noProof="0" dirty="0"/>
              <a:t> </a:t>
            </a:r>
            <a:r>
              <a:rPr lang="en-US" noProof="0" dirty="0" err="1"/>
              <a:t>på</a:t>
            </a:r>
            <a:r>
              <a:rPr lang="en-US" noProof="0" dirty="0"/>
              <a:t> 6 </a:t>
            </a:r>
            <a:r>
              <a:rPr lang="en-US" noProof="0" dirty="0" err="1"/>
              <a:t>uker</a:t>
            </a:r>
            <a:endParaRPr lang="nb-NO" noProof="0" dirty="0"/>
          </a:p>
        </p:txBody>
      </p:sp>
      <p:graphicFrame>
        <p:nvGraphicFramePr>
          <p:cNvPr id="17" name="Plassholder for innhold 16">
            <a:extLst>
              <a:ext uri="{FF2B5EF4-FFF2-40B4-BE49-F238E27FC236}">
                <a16:creationId xmlns:a16="http://schemas.microsoft.com/office/drawing/2014/main" id="{B45024A2-050B-AD47-4E27-1DC2454800B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11593572"/>
              </p:ext>
            </p:extLst>
          </p:nvPr>
        </p:nvGraphicFramePr>
        <p:xfrm>
          <a:off x="449263" y="2343150"/>
          <a:ext cx="10793412" cy="34956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Undertittel 5">
            <a:extLst>
              <a:ext uri="{FF2B5EF4-FFF2-40B4-BE49-F238E27FC236}">
                <a16:creationId xmlns:a16="http://schemas.microsoft.com/office/drawing/2014/main" id="{94E73ACC-A841-DA6E-4A98-5A7FC4E93B64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nb-NO" dirty="0"/>
              <a:t>Møt </a:t>
            </a:r>
            <a:r>
              <a:rPr lang="nb-NO" dirty="0" err="1"/>
              <a:t>Eglev</a:t>
            </a:r>
            <a:r>
              <a:rPr lang="nb-NO" dirty="0"/>
              <a:t> – vår LLM analytiker</a:t>
            </a:r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214BADD2-4888-D77F-C139-F7EE09445E1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>
            <a:extLst>
              <a:ext uri="{FF2B5EF4-FFF2-40B4-BE49-F238E27FC236}">
                <a16:creationId xmlns:a16="http://schemas.microsoft.com/office/drawing/2014/main" id="{FF523881-5696-2EFA-ED86-252E644489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12" name="Plassholder for lysbildenummer 11">
            <a:extLst>
              <a:ext uri="{FF2B5EF4-FFF2-40B4-BE49-F238E27FC236}">
                <a16:creationId xmlns:a16="http://schemas.microsoft.com/office/drawing/2014/main" id="{7804BA93-97D6-EFA9-46DC-F2D64BC4D1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nb-NO" smtClean="0"/>
              <a:t>12</a:t>
            </a:fld>
            <a:endParaRPr lang="nb-NO"/>
          </a:p>
        </p:txBody>
      </p:sp>
      <p:pic>
        <p:nvPicPr>
          <p:cNvPr id="18" name="Grafikk 17" descr="En lyspæren">
            <a:extLst>
              <a:ext uri="{FF2B5EF4-FFF2-40B4-BE49-F238E27FC236}">
                <a16:creationId xmlns:a16="http://schemas.microsoft.com/office/drawing/2014/main" id="{69C642B0-742E-B916-9C65-145E54E8B49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83509" y="3650075"/>
            <a:ext cx="448536" cy="427048"/>
          </a:xfrm>
          <a:prstGeom prst="rect">
            <a:avLst/>
          </a:prstGeom>
        </p:spPr>
      </p:pic>
      <p:pic>
        <p:nvPicPr>
          <p:cNvPr id="20" name="Grafikk 19" descr="Spill av med heldekkende fyll">
            <a:extLst>
              <a:ext uri="{FF2B5EF4-FFF2-40B4-BE49-F238E27FC236}">
                <a16:creationId xmlns:a16="http://schemas.microsoft.com/office/drawing/2014/main" id="{CCF10E14-8032-AC84-53E3-49E768366A6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343275" y="3710045"/>
            <a:ext cx="379434" cy="379434"/>
          </a:xfrm>
          <a:prstGeom prst="rect">
            <a:avLst/>
          </a:prstGeom>
        </p:spPr>
      </p:pic>
      <p:pic>
        <p:nvPicPr>
          <p:cNvPr id="22" name="Grafikk 21" descr="Lærer med heldekkende fyll">
            <a:extLst>
              <a:ext uri="{FF2B5EF4-FFF2-40B4-BE49-F238E27FC236}">
                <a16:creationId xmlns:a16="http://schemas.microsoft.com/office/drawing/2014/main" id="{E110DBB9-42FC-B357-DA99-0F915DB5D26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112228" y="3697690"/>
            <a:ext cx="379433" cy="379433"/>
          </a:xfrm>
          <a:prstGeom prst="rect">
            <a:avLst/>
          </a:prstGeom>
        </p:spPr>
      </p:pic>
      <p:pic>
        <p:nvPicPr>
          <p:cNvPr id="24" name="Grafikk 23" descr="Brukere med heldekkende fyll">
            <a:extLst>
              <a:ext uri="{FF2B5EF4-FFF2-40B4-BE49-F238E27FC236}">
                <a16:creationId xmlns:a16="http://schemas.microsoft.com/office/drawing/2014/main" id="{78C9DB38-FCCA-02EE-B869-9532F5F6D69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708592" y="3710046"/>
            <a:ext cx="379433" cy="379433"/>
          </a:xfrm>
          <a:prstGeom prst="rect">
            <a:avLst/>
          </a:prstGeom>
        </p:spPr>
      </p:pic>
      <p:pic>
        <p:nvPicPr>
          <p:cNvPr id="26" name="Grafikk 25" descr="Klubbe med heldekkende fyll">
            <a:extLst>
              <a:ext uri="{FF2B5EF4-FFF2-40B4-BE49-F238E27FC236}">
                <a16:creationId xmlns:a16="http://schemas.microsoft.com/office/drawing/2014/main" id="{F27AFF3E-6AF8-5D8B-FED4-FE1BF1AD2883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331536" y="3714878"/>
            <a:ext cx="348544" cy="348544"/>
          </a:xfrm>
          <a:prstGeom prst="rect">
            <a:avLst/>
          </a:prstGeom>
        </p:spPr>
      </p:pic>
      <p:pic>
        <p:nvPicPr>
          <p:cNvPr id="28" name="Grafikk 27" descr="Tannhjul med heldekkende fyll">
            <a:extLst>
              <a:ext uri="{FF2B5EF4-FFF2-40B4-BE49-F238E27FC236}">
                <a16:creationId xmlns:a16="http://schemas.microsoft.com/office/drawing/2014/main" id="{8CD7CD0E-438C-630D-AAE3-C7A15C9064C2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7911453" y="3700705"/>
            <a:ext cx="379434" cy="379434"/>
          </a:xfrm>
          <a:prstGeom prst="rect">
            <a:avLst/>
          </a:prstGeom>
        </p:spPr>
      </p:pic>
      <p:pic>
        <p:nvPicPr>
          <p:cNvPr id="30" name="Grafikk 29" descr="Foreleser med heldekkende fyll">
            <a:extLst>
              <a:ext uri="{FF2B5EF4-FFF2-40B4-BE49-F238E27FC236}">
                <a16:creationId xmlns:a16="http://schemas.microsoft.com/office/drawing/2014/main" id="{F26F37B0-2BBE-A975-6171-3CB8B8D83162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6515864" y="3705542"/>
            <a:ext cx="379434" cy="379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698508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innhold 6">
            <a:extLst>
              <a:ext uri="{FF2B5EF4-FFF2-40B4-BE49-F238E27FC236}">
                <a16:creationId xmlns:a16="http://schemas.microsoft.com/office/drawing/2014/main" id="{D91678C5-15F7-2F29-1951-680A045037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46562" y="1652338"/>
            <a:ext cx="6196238" cy="4186862"/>
          </a:xfrm>
        </p:spPr>
        <p:txBody>
          <a:bodyPr/>
          <a:lstStyle/>
          <a:p>
            <a:pPr marL="0" indent="0" algn="ctr">
              <a:buNone/>
            </a:pPr>
            <a:endParaRPr lang="nb-NO" sz="2400" i="1" dirty="0"/>
          </a:p>
          <a:p>
            <a:pPr marL="0" indent="0" algn="ctr">
              <a:buNone/>
            </a:pPr>
            <a:r>
              <a:rPr lang="nb-NO" sz="2400" i="1" dirty="0"/>
              <a:t>«A </a:t>
            </a:r>
            <a:r>
              <a:rPr lang="nb-NO" sz="2400" i="1" dirty="0" err="1"/>
              <a:t>startup</a:t>
            </a:r>
            <a:r>
              <a:rPr lang="nb-NO" sz="2400" i="1" dirty="0"/>
              <a:t> is a human </a:t>
            </a:r>
            <a:r>
              <a:rPr lang="nb-NO" sz="2400" i="1" dirty="0" err="1"/>
              <a:t>institution</a:t>
            </a:r>
            <a:r>
              <a:rPr lang="nb-NO" sz="2400" i="1" dirty="0"/>
              <a:t> </a:t>
            </a:r>
            <a:r>
              <a:rPr lang="nb-NO" sz="2400" i="1" dirty="0" err="1"/>
              <a:t>designed</a:t>
            </a:r>
            <a:r>
              <a:rPr lang="nb-NO" sz="2400" i="1" dirty="0"/>
              <a:t> to </a:t>
            </a:r>
            <a:r>
              <a:rPr lang="nb-NO" sz="2400" i="1" dirty="0" err="1"/>
              <a:t>create</a:t>
            </a:r>
            <a:r>
              <a:rPr lang="nb-NO" sz="2400" i="1" dirty="0"/>
              <a:t> a </a:t>
            </a:r>
            <a:r>
              <a:rPr lang="nb-NO" sz="2400" i="1" dirty="0" err="1"/>
              <a:t>new</a:t>
            </a:r>
            <a:r>
              <a:rPr lang="nb-NO" sz="2400" i="1" dirty="0"/>
              <a:t> </a:t>
            </a:r>
            <a:r>
              <a:rPr lang="nb-NO" sz="2400" i="1" dirty="0" err="1"/>
              <a:t>product</a:t>
            </a:r>
            <a:r>
              <a:rPr lang="nb-NO" sz="2400" i="1" dirty="0"/>
              <a:t> or service under </a:t>
            </a:r>
            <a:r>
              <a:rPr lang="nb-NO" sz="2400" i="1" dirty="0" err="1"/>
              <a:t>conditions</a:t>
            </a:r>
            <a:r>
              <a:rPr lang="nb-NO" sz="2400" i="1" dirty="0"/>
              <a:t> </a:t>
            </a:r>
            <a:r>
              <a:rPr lang="nb-NO" sz="2400" i="1" dirty="0" err="1"/>
              <a:t>of</a:t>
            </a:r>
            <a:r>
              <a:rPr lang="nb-NO" sz="2400" i="1" dirty="0"/>
              <a:t> </a:t>
            </a:r>
            <a:r>
              <a:rPr lang="nb-NO" sz="2400" i="1" dirty="0" err="1"/>
              <a:t>extreme</a:t>
            </a:r>
            <a:r>
              <a:rPr lang="nb-NO" sz="2400" i="1" dirty="0"/>
              <a:t> </a:t>
            </a:r>
            <a:r>
              <a:rPr lang="nb-NO" sz="2400" i="1" dirty="0" err="1"/>
              <a:t>uncertainty</a:t>
            </a:r>
            <a:r>
              <a:rPr lang="nb-NO" sz="2400" i="1" dirty="0"/>
              <a:t>.»</a:t>
            </a:r>
          </a:p>
          <a:p>
            <a:pPr marL="0" indent="0" algn="ctr">
              <a:buNone/>
            </a:pPr>
            <a:endParaRPr lang="nb-NO" sz="2400" i="1" dirty="0"/>
          </a:p>
          <a:p>
            <a:pPr marL="0" indent="0">
              <a:buNone/>
            </a:pPr>
            <a:endParaRPr lang="nb-NO" sz="1800" dirty="0"/>
          </a:p>
          <a:p>
            <a:pPr marL="0" indent="0">
              <a:buNone/>
            </a:pPr>
            <a:r>
              <a:rPr lang="nb-NO" sz="1800" dirty="0"/>
              <a:t>NB: Et </a:t>
            </a:r>
            <a:r>
              <a:rPr lang="nb-NO" sz="1800" dirty="0" err="1"/>
              <a:t>startup</a:t>
            </a:r>
            <a:r>
              <a:rPr lang="nb-NO" sz="1800" dirty="0"/>
              <a:t> er ikke begrenset til å være et oppstartsselskap, men kan like greit være et team eller produkt i et stort og etablert selskap!</a:t>
            </a:r>
          </a:p>
        </p:txBody>
      </p:sp>
      <p:sp>
        <p:nvSpPr>
          <p:cNvPr id="8" name="Undertittel 7">
            <a:extLst>
              <a:ext uri="{FF2B5EF4-FFF2-40B4-BE49-F238E27FC236}">
                <a16:creationId xmlns:a16="http://schemas.microsoft.com/office/drawing/2014/main" id="{C336D851-DBC4-300E-C2CA-D0AFACC97A7C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046562" y="360000"/>
            <a:ext cx="5602238" cy="276608"/>
          </a:xfrm>
        </p:spPr>
        <p:txBody>
          <a:bodyPr/>
          <a:lstStyle/>
          <a:p>
            <a:r>
              <a:rPr lang="nb-NO" dirty="0"/>
              <a:t>Møt </a:t>
            </a:r>
            <a:r>
              <a:rPr lang="nb-NO" dirty="0" err="1"/>
              <a:t>Eglev</a:t>
            </a:r>
            <a:r>
              <a:rPr lang="nb-NO" dirty="0"/>
              <a:t> – vår LLM analytiker</a:t>
            </a:r>
          </a:p>
        </p:txBody>
      </p:sp>
      <p:sp>
        <p:nvSpPr>
          <p:cNvPr id="9" name="Plassholder for tekst 8">
            <a:extLst>
              <a:ext uri="{FF2B5EF4-FFF2-40B4-BE49-F238E27FC236}">
                <a16:creationId xmlns:a16="http://schemas.microsoft.com/office/drawing/2014/main" id="{5A04C8B0-D4A1-00A6-6948-65498DD7D7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F822D4F-DAA2-FCD0-E06F-35A2F1FA91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nb-NO"/>
              <a:t>Gjensidige Forsikring Group</a:t>
            </a:r>
            <a:endParaRPr lang="nb-NO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360150-1398-7C72-B5E1-D8152D75AA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23AA811B-2EBD-4900-905E-5BE206449611}" type="slidenum">
              <a:rPr lang="nb-NO" smtClean="0"/>
              <a:pPr/>
              <a:t>13</a:t>
            </a:fld>
            <a:endParaRPr lang="nb-NO" dirty="0"/>
          </a:p>
        </p:txBody>
      </p:sp>
      <p:pic>
        <p:nvPicPr>
          <p:cNvPr id="2050" name="Picture 2" descr="The Lean Startup: How Constant Innovation Creates Radically Successful  Businesses: Amazon.co.uk: Ries, Eric: 8904380105237: Books">
            <a:extLst>
              <a:ext uri="{FF2B5EF4-FFF2-40B4-BE49-F238E27FC236}">
                <a16:creationId xmlns:a16="http://schemas.microsoft.com/office/drawing/2014/main" id="{1856FB6B-F037-4D7F-1F50-2E62610D73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48468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1743080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innhold 6">
            <a:extLst>
              <a:ext uri="{FF2B5EF4-FFF2-40B4-BE49-F238E27FC236}">
                <a16:creationId xmlns:a16="http://schemas.microsoft.com/office/drawing/2014/main" id="{D91678C5-15F7-2F29-1951-680A045037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46562" y="1652338"/>
            <a:ext cx="6196238" cy="2067607"/>
          </a:xfrm>
        </p:spPr>
        <p:txBody>
          <a:bodyPr/>
          <a:lstStyle/>
          <a:p>
            <a:pPr marL="0" indent="0" algn="ctr">
              <a:buNone/>
            </a:pPr>
            <a:endParaRPr lang="nb-NO" sz="2400" i="1" dirty="0"/>
          </a:p>
          <a:p>
            <a:pPr marL="0" indent="0" algn="ctr">
              <a:buNone/>
            </a:pPr>
            <a:r>
              <a:rPr lang="nb-NO" sz="2400" i="1" dirty="0"/>
              <a:t>«A </a:t>
            </a:r>
            <a:r>
              <a:rPr lang="nb-NO" sz="2400" i="1" dirty="0" err="1"/>
              <a:t>startup</a:t>
            </a:r>
            <a:r>
              <a:rPr lang="nb-NO" sz="2400" i="1" dirty="0"/>
              <a:t> is a human </a:t>
            </a:r>
            <a:r>
              <a:rPr lang="nb-NO" sz="2400" i="1" dirty="0" err="1"/>
              <a:t>institution</a:t>
            </a:r>
            <a:r>
              <a:rPr lang="nb-NO" sz="2400" i="1" dirty="0"/>
              <a:t> </a:t>
            </a:r>
            <a:r>
              <a:rPr lang="nb-NO" sz="2400" i="1" dirty="0" err="1"/>
              <a:t>designed</a:t>
            </a:r>
            <a:r>
              <a:rPr lang="nb-NO" sz="2400" i="1" dirty="0"/>
              <a:t> to </a:t>
            </a:r>
            <a:r>
              <a:rPr lang="nb-NO" sz="2400" i="1" dirty="0" err="1"/>
              <a:t>create</a:t>
            </a:r>
            <a:r>
              <a:rPr lang="nb-NO" sz="2400" i="1" dirty="0"/>
              <a:t> a </a:t>
            </a:r>
            <a:r>
              <a:rPr lang="nb-NO" sz="2400" i="1" dirty="0" err="1"/>
              <a:t>new</a:t>
            </a:r>
            <a:r>
              <a:rPr lang="nb-NO" sz="2400" i="1" dirty="0"/>
              <a:t> </a:t>
            </a:r>
            <a:r>
              <a:rPr lang="nb-NO" sz="2400" i="1" dirty="0" err="1"/>
              <a:t>product</a:t>
            </a:r>
            <a:r>
              <a:rPr lang="nb-NO" sz="2400" i="1" dirty="0"/>
              <a:t> or service under </a:t>
            </a:r>
            <a:r>
              <a:rPr lang="nb-NO" sz="2400" i="1" dirty="0" err="1"/>
              <a:t>conditions</a:t>
            </a:r>
            <a:r>
              <a:rPr lang="nb-NO" sz="2400" i="1" dirty="0"/>
              <a:t> </a:t>
            </a:r>
            <a:r>
              <a:rPr lang="nb-NO" sz="2400" i="1" dirty="0" err="1"/>
              <a:t>of</a:t>
            </a:r>
            <a:r>
              <a:rPr lang="nb-NO" sz="2400" i="1" dirty="0"/>
              <a:t> </a:t>
            </a:r>
            <a:r>
              <a:rPr lang="nb-NO" sz="2400" i="1" dirty="0" err="1"/>
              <a:t>extreme</a:t>
            </a:r>
            <a:r>
              <a:rPr lang="nb-NO" sz="2400" i="1" dirty="0"/>
              <a:t> </a:t>
            </a:r>
            <a:r>
              <a:rPr lang="nb-NO" sz="2400" i="1" dirty="0" err="1"/>
              <a:t>uncertainty</a:t>
            </a:r>
            <a:r>
              <a:rPr lang="nb-NO" sz="2400" i="1" dirty="0"/>
              <a:t>.»</a:t>
            </a:r>
          </a:p>
        </p:txBody>
      </p:sp>
      <p:sp>
        <p:nvSpPr>
          <p:cNvPr id="8" name="Undertittel 7">
            <a:extLst>
              <a:ext uri="{FF2B5EF4-FFF2-40B4-BE49-F238E27FC236}">
                <a16:creationId xmlns:a16="http://schemas.microsoft.com/office/drawing/2014/main" id="{C336D851-DBC4-300E-C2CA-D0AFACC97A7C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5046562" y="360000"/>
            <a:ext cx="5602238" cy="276608"/>
          </a:xfrm>
        </p:spPr>
        <p:txBody>
          <a:bodyPr/>
          <a:lstStyle/>
          <a:p>
            <a:r>
              <a:rPr lang="nb-NO" dirty="0"/>
              <a:t>Møt </a:t>
            </a:r>
            <a:r>
              <a:rPr lang="nb-NO" dirty="0" err="1"/>
              <a:t>Eglev</a:t>
            </a:r>
            <a:r>
              <a:rPr lang="nb-NO" dirty="0"/>
              <a:t> – vår LLM analytiker</a:t>
            </a:r>
          </a:p>
        </p:txBody>
      </p:sp>
      <p:sp>
        <p:nvSpPr>
          <p:cNvPr id="9" name="Plassholder for tekst 8">
            <a:extLst>
              <a:ext uri="{FF2B5EF4-FFF2-40B4-BE49-F238E27FC236}">
                <a16:creationId xmlns:a16="http://schemas.microsoft.com/office/drawing/2014/main" id="{5A04C8B0-D4A1-00A6-6948-65498DD7D7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F822D4F-DAA2-FCD0-E06F-35A2F1FA91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nb-NO"/>
              <a:t>Gjensidige Forsikring Group</a:t>
            </a:r>
            <a:endParaRPr lang="nb-NO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360150-1398-7C72-B5E1-D8152D75AA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23AA811B-2EBD-4900-905E-5BE206449611}" type="slidenum">
              <a:rPr lang="nb-NO" smtClean="0"/>
              <a:pPr/>
              <a:t>14</a:t>
            </a:fld>
            <a:endParaRPr lang="nb-NO" dirty="0"/>
          </a:p>
        </p:txBody>
      </p:sp>
      <p:pic>
        <p:nvPicPr>
          <p:cNvPr id="2050" name="Picture 2" descr="The Lean Startup: How Constant Innovation Creates Radically Successful  Businesses: Amazon.co.uk: Ries, Eric: 8904380105237: Books">
            <a:extLst>
              <a:ext uri="{FF2B5EF4-FFF2-40B4-BE49-F238E27FC236}">
                <a16:creationId xmlns:a16="http://schemas.microsoft.com/office/drawing/2014/main" id="{1856FB6B-F037-4D7F-1F50-2E62610D73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48468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F8661A3D-19CA-2D9C-A1F8-E0A1453E14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162" y="795600"/>
            <a:ext cx="6210638" cy="982800"/>
          </a:xfrm>
        </p:spPr>
        <p:txBody>
          <a:bodyPr/>
          <a:lstStyle/>
          <a:p>
            <a:r>
              <a:rPr lang="nb-NO" dirty="0"/>
              <a:t>90% av oppstartsselskaper feiler. Hvorfor?</a:t>
            </a:r>
          </a:p>
        </p:txBody>
      </p:sp>
      <p:sp>
        <p:nvSpPr>
          <p:cNvPr id="3" name="Plassholder for innhold 6">
            <a:extLst>
              <a:ext uri="{FF2B5EF4-FFF2-40B4-BE49-F238E27FC236}">
                <a16:creationId xmlns:a16="http://schemas.microsoft.com/office/drawing/2014/main" id="{D6D4C070-3B51-5D87-2AC5-AB3EB2411F98}"/>
              </a:ext>
            </a:extLst>
          </p:cNvPr>
          <p:cNvSpPr txBox="1">
            <a:spLocks/>
          </p:cNvSpPr>
          <p:nvPr/>
        </p:nvSpPr>
        <p:spPr>
          <a:xfrm>
            <a:off x="5046562" y="3719945"/>
            <a:ext cx="6196238" cy="206760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rgbClr val="090C33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rgbClr val="090C33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rgbClr val="090C33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kern="1200">
                <a:solidFill>
                  <a:srgbClr val="090C33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rgbClr val="090C33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rgbClr val="090C3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rgbClr val="090C33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rgbClr val="090C33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baseline="0">
                <a:solidFill>
                  <a:srgbClr val="090C33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nb-NO" sz="1800" i="1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nb-NO" sz="1800" dirty="0"/>
              <a:t>«Ekstrem usikkerhet» betyr at vi ikke kan vite på forhånd hva produktet eller hvem kundene skal være. Klassiske metoder til business analyse skaper en falsk følelse av sikkerhet.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3618909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1A4A7AD-3F1F-32B9-1DBA-3C703549D2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err="1"/>
              <a:t>Adding</a:t>
            </a:r>
            <a:r>
              <a:rPr lang="nb-NO" dirty="0"/>
              <a:t> </a:t>
            </a:r>
            <a:r>
              <a:rPr lang="nb-NO" dirty="0" err="1"/>
              <a:t>value</a:t>
            </a:r>
            <a:r>
              <a:rPr lang="nb-NO" dirty="0"/>
              <a:t>-driven </a:t>
            </a:r>
            <a:r>
              <a:rPr lang="nb-NO" dirty="0" err="1"/>
              <a:t>development</a:t>
            </a:r>
            <a:r>
              <a:rPr lang="nb-NO" dirty="0"/>
              <a:t> to </a:t>
            </a:r>
            <a:r>
              <a:rPr lang="nb-NO" dirty="0" err="1"/>
              <a:t>the</a:t>
            </a:r>
            <a:r>
              <a:rPr lang="nb-NO" dirty="0"/>
              <a:t> </a:t>
            </a:r>
            <a:r>
              <a:rPr lang="nb-NO" dirty="0" err="1"/>
              <a:t>cloud</a:t>
            </a:r>
            <a:r>
              <a:rPr lang="nb-NO" dirty="0"/>
              <a:t> data </a:t>
            </a:r>
            <a:r>
              <a:rPr lang="nb-NO" dirty="0" err="1"/>
              <a:t>platform</a:t>
            </a:r>
            <a:endParaRPr lang="nb-NO" dirty="0"/>
          </a:p>
        </p:txBody>
      </p:sp>
      <p:sp>
        <p:nvSpPr>
          <p:cNvPr id="4" name="Undertittel 3">
            <a:extLst>
              <a:ext uri="{FF2B5EF4-FFF2-40B4-BE49-F238E27FC236}">
                <a16:creationId xmlns:a16="http://schemas.microsoft.com/office/drawing/2014/main" id="{4E69131F-6721-373B-570C-3C01365B4E21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nb-NO" dirty="0"/>
              <a:t>Møt </a:t>
            </a:r>
            <a:r>
              <a:rPr lang="nb-NO" dirty="0" err="1"/>
              <a:t>Eglev</a:t>
            </a:r>
            <a:r>
              <a:rPr lang="nb-NO" dirty="0"/>
              <a:t> – vår LLM analytiker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5A099492-EC51-854A-2768-E79CACC998A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D873CB19-40C6-18BC-D057-F7BF1E164E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77217B39-BAEF-D0FA-67D1-48DA3CF942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nb-NO" smtClean="0"/>
              <a:t>15</a:t>
            </a:fld>
            <a:endParaRPr lang="nb-NO" dirty="0"/>
          </a:p>
        </p:txBody>
      </p:sp>
      <p:graphicFrame>
        <p:nvGraphicFramePr>
          <p:cNvPr id="12" name="Diagram 11">
            <a:extLst>
              <a:ext uri="{FF2B5EF4-FFF2-40B4-BE49-F238E27FC236}">
                <a16:creationId xmlns:a16="http://schemas.microsoft.com/office/drawing/2014/main" id="{FB7BFE48-CEF4-0044-7C3D-92638FA03263}"/>
              </a:ext>
            </a:extLst>
          </p:cNvPr>
          <p:cNvGraphicFramePr/>
          <p:nvPr/>
        </p:nvGraphicFramePr>
        <p:xfrm>
          <a:off x="1151473" y="1665131"/>
          <a:ext cx="3679562" cy="42598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3" name="Freeform: Shape 29">
            <a:extLst>
              <a:ext uri="{FF2B5EF4-FFF2-40B4-BE49-F238E27FC236}">
                <a16:creationId xmlns:a16="http://schemas.microsoft.com/office/drawing/2014/main" id="{43DE4EED-AAE2-6A26-EF6C-E2973453AC70}"/>
              </a:ext>
            </a:extLst>
          </p:cNvPr>
          <p:cNvSpPr/>
          <p:nvPr/>
        </p:nvSpPr>
        <p:spPr>
          <a:xfrm>
            <a:off x="1151473" y="5812039"/>
            <a:ext cx="3679562" cy="112986"/>
          </a:xfrm>
          <a:custGeom>
            <a:avLst/>
            <a:gdLst>
              <a:gd name="connsiteX0" fmla="*/ 65532 w 3876675"/>
              <a:gd name="connsiteY0" fmla="*/ 0 h 112986"/>
              <a:gd name="connsiteX1" fmla="*/ 3811143 w 3876675"/>
              <a:gd name="connsiteY1" fmla="*/ 0 h 112986"/>
              <a:gd name="connsiteX2" fmla="*/ 3876675 w 3876675"/>
              <a:gd name="connsiteY2" fmla="*/ 112986 h 112986"/>
              <a:gd name="connsiteX3" fmla="*/ 0 w 3876675"/>
              <a:gd name="connsiteY3" fmla="*/ 112986 h 1129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76675" h="112986">
                <a:moveTo>
                  <a:pt x="65532" y="0"/>
                </a:moveTo>
                <a:lnTo>
                  <a:pt x="3811143" y="0"/>
                </a:lnTo>
                <a:lnTo>
                  <a:pt x="3876675" y="112986"/>
                </a:lnTo>
                <a:lnTo>
                  <a:pt x="0" y="112986"/>
                </a:lnTo>
                <a:close/>
              </a:path>
            </a:pathLst>
          </a:custGeom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300" b="0" i="0" u="none" strike="noStrike" kern="1200" cap="none" spc="0" normalizeH="0" baseline="0" noProof="0">
              <a:ln>
                <a:noFill/>
              </a:ln>
              <a:solidFill>
                <a:srgbClr val="0E0E0E"/>
              </a:solidFill>
              <a:effectLst/>
              <a:uLnTx/>
              <a:uFillTx/>
              <a:latin typeface="DIN OT Light" charset="0"/>
              <a:ea typeface="DIN OT Light" charset="0"/>
              <a:cs typeface="DIN OT Light" charset="0"/>
            </a:endParaRPr>
          </a:p>
        </p:txBody>
      </p:sp>
      <p:sp>
        <p:nvSpPr>
          <p:cNvPr id="3" name="Freeform: Shape 30">
            <a:extLst>
              <a:ext uri="{FF2B5EF4-FFF2-40B4-BE49-F238E27FC236}">
                <a16:creationId xmlns:a16="http://schemas.microsoft.com/office/drawing/2014/main" id="{6E3FDB0C-93C2-9EA3-7ABB-BAB8242FB73A}"/>
              </a:ext>
            </a:extLst>
          </p:cNvPr>
          <p:cNvSpPr/>
          <p:nvPr/>
        </p:nvSpPr>
        <p:spPr>
          <a:xfrm rot="1361410" flipH="1">
            <a:off x="6573306" y="1277670"/>
            <a:ext cx="667864" cy="4883487"/>
          </a:xfrm>
          <a:custGeom>
            <a:avLst/>
            <a:gdLst>
              <a:gd name="connsiteX0" fmla="*/ 0 w 371433"/>
              <a:gd name="connsiteY0" fmla="*/ 0 h 4096463"/>
              <a:gd name="connsiteX1" fmla="*/ 0 w 371433"/>
              <a:gd name="connsiteY1" fmla="*/ 3882016 h 4096463"/>
              <a:gd name="connsiteX2" fmla="*/ 371433 w 371433"/>
              <a:gd name="connsiteY2" fmla="*/ 4096463 h 4096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1433" h="4096463">
                <a:moveTo>
                  <a:pt x="0" y="0"/>
                </a:moveTo>
                <a:lnTo>
                  <a:pt x="0" y="3882016"/>
                </a:lnTo>
                <a:lnTo>
                  <a:pt x="371433" y="4096463"/>
                </a:lnTo>
                <a:close/>
              </a:path>
            </a:pathLst>
          </a:custGeom>
          <a:ln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300" b="0" i="0" u="none" strike="noStrike" kern="1200" cap="none" spc="0" normalizeH="0" baseline="0" noProof="0" dirty="0">
              <a:ln>
                <a:noFill/>
              </a:ln>
              <a:solidFill>
                <a:srgbClr val="0E0E0E"/>
              </a:solidFill>
              <a:effectLst/>
              <a:uLnTx/>
              <a:uFillTx/>
              <a:latin typeface="DIN OT Light" charset="0"/>
              <a:ea typeface="DIN OT Light" charset="0"/>
              <a:cs typeface="DIN OT Light" charset="0"/>
            </a:endParaRP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6D6F9B49-00F7-2E3A-234C-E0D1E93A9B8E}"/>
              </a:ext>
            </a:extLst>
          </p:cNvPr>
          <p:cNvGraphicFramePr/>
          <p:nvPr/>
        </p:nvGraphicFramePr>
        <p:xfrm>
          <a:off x="6428942" y="1605600"/>
          <a:ext cx="3679562" cy="42598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mc:AlternateContent xmlns:mc="http://schemas.openxmlformats.org/markup-compatibility/2006" xmlns:p14="http://schemas.microsoft.com/office/powerpoint/2010/main">
        <mc:Choice Requires="p14">
          <p:contentPart p14:bwMode="auto" r:id="rId13">
            <p14:nvContentPartPr>
              <p14:cNvPr id="9" name="Håndskrift 8">
                <a:extLst>
                  <a:ext uri="{FF2B5EF4-FFF2-40B4-BE49-F238E27FC236}">
                    <a16:creationId xmlns:a16="http://schemas.microsoft.com/office/drawing/2014/main" id="{C0D36F3B-66B2-4059-BB12-FFABB1F8D6FC}"/>
                  </a:ext>
                </a:extLst>
              </p14:cNvPr>
              <p14:cNvContentPartPr/>
              <p14:nvPr/>
            </p14:nvContentPartPr>
            <p14:xfrm>
              <a:off x="1277418" y="2368341"/>
              <a:ext cx="3238560" cy="3312360"/>
            </p14:xfrm>
          </p:contentPart>
        </mc:Choice>
        <mc:Fallback xmlns="">
          <p:pic>
            <p:nvPicPr>
              <p:cNvPr id="9" name="Håndskrift 8">
                <a:extLst>
                  <a:ext uri="{FF2B5EF4-FFF2-40B4-BE49-F238E27FC236}">
                    <a16:creationId xmlns:a16="http://schemas.microsoft.com/office/drawing/2014/main" id="{C0D36F3B-66B2-4059-BB12-FFABB1F8D6FC}"/>
                  </a:ext>
                </a:extLst>
              </p:cNvPr>
              <p:cNvPicPr/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1241778" y="2332341"/>
                <a:ext cx="3310200" cy="3384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5">
            <p14:nvContentPartPr>
              <p14:cNvPr id="17" name="Håndskrift 16">
                <a:extLst>
                  <a:ext uri="{FF2B5EF4-FFF2-40B4-BE49-F238E27FC236}">
                    <a16:creationId xmlns:a16="http://schemas.microsoft.com/office/drawing/2014/main" id="{8A327478-D8BD-7E80-4873-C80C291B14F7}"/>
                  </a:ext>
                </a:extLst>
              </p14:cNvPr>
              <p14:cNvContentPartPr/>
              <p14:nvPr/>
            </p14:nvContentPartPr>
            <p14:xfrm>
              <a:off x="1229538" y="2839581"/>
              <a:ext cx="2581200" cy="2261880"/>
            </p14:xfrm>
          </p:contentPart>
        </mc:Choice>
        <mc:Fallback xmlns="">
          <p:pic>
            <p:nvPicPr>
              <p:cNvPr id="17" name="Håndskrift 16">
                <a:extLst>
                  <a:ext uri="{FF2B5EF4-FFF2-40B4-BE49-F238E27FC236}">
                    <a16:creationId xmlns:a16="http://schemas.microsoft.com/office/drawing/2014/main" id="{8A327478-D8BD-7E80-4873-C80C291B14F7}"/>
                  </a:ext>
                </a:extLst>
              </p:cNvPr>
              <p:cNvPicPr/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1193538" y="2803941"/>
                <a:ext cx="2652840" cy="2333520"/>
              </a:xfrm>
              <a:prstGeom prst="rect">
                <a:avLst/>
              </a:prstGeom>
            </p:spPr>
          </p:pic>
        </mc:Fallback>
      </mc:AlternateContent>
      <p:sp>
        <p:nvSpPr>
          <p:cNvPr id="10" name="TekstSylinder 9">
            <a:extLst>
              <a:ext uri="{FF2B5EF4-FFF2-40B4-BE49-F238E27FC236}">
                <a16:creationId xmlns:a16="http://schemas.microsoft.com/office/drawing/2014/main" id="{DBF0388C-EE93-006C-1FC4-B480FC9FD12A}"/>
              </a:ext>
            </a:extLst>
          </p:cNvPr>
          <p:cNvSpPr txBox="1"/>
          <p:nvPr/>
        </p:nvSpPr>
        <p:spPr>
          <a:xfrm rot="17580710">
            <a:off x="5801011" y="4721209"/>
            <a:ext cx="1526765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nb-NO" sz="2400" dirty="0">
                <a:solidFill>
                  <a:schemeClr val="tx2"/>
                </a:solidFill>
              </a:rPr>
              <a:t>Verdistrøm</a:t>
            </a:r>
          </a:p>
        </p:txBody>
      </p:sp>
    </p:spTree>
    <p:extLst>
      <p:ext uri="{BB962C8B-B14F-4D97-AF65-F5344CB8AC3E}">
        <p14:creationId xmlns:p14="http://schemas.microsoft.com/office/powerpoint/2010/main" val="26646918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Graphic spid="8" grpId="0">
        <p:bldAsOne/>
      </p:bldGraphic>
      <p:bldP spid="10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939C145F-FCA7-EE06-EE2E-B7842B56DD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err="1"/>
              <a:t>Verdistrømmapping</a:t>
            </a:r>
            <a:endParaRPr lang="nb-NO" dirty="0"/>
          </a:p>
        </p:txBody>
      </p:sp>
      <p:sp>
        <p:nvSpPr>
          <p:cNvPr id="4" name="Undertittel 3">
            <a:extLst>
              <a:ext uri="{FF2B5EF4-FFF2-40B4-BE49-F238E27FC236}">
                <a16:creationId xmlns:a16="http://schemas.microsoft.com/office/drawing/2014/main" id="{C725D01A-EF51-C3A8-4A33-7686B300FD8A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nb-NO" dirty="0"/>
              <a:t>Møt </a:t>
            </a:r>
            <a:r>
              <a:rPr lang="nb-NO" dirty="0" err="1"/>
              <a:t>Eglev</a:t>
            </a:r>
            <a:r>
              <a:rPr lang="nb-NO" dirty="0"/>
              <a:t> – vår LLM analytiker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744334EA-6371-E0A0-1980-9B186FD7EA3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DC86258A-CC81-5F3A-08CA-EB0A02D5C5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5E5B0D4-5AB7-934A-ACB2-402E254193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nb-NO" smtClean="0"/>
              <a:t>16</a:t>
            </a:fld>
            <a:endParaRPr lang="nb-NO"/>
          </a:p>
        </p:txBody>
      </p:sp>
      <p:sp>
        <p:nvSpPr>
          <p:cNvPr id="9" name="Vinkeltegn 8">
            <a:extLst>
              <a:ext uri="{FF2B5EF4-FFF2-40B4-BE49-F238E27FC236}">
                <a16:creationId xmlns:a16="http://schemas.microsoft.com/office/drawing/2014/main" id="{722DFF37-F90F-6842-D2D7-A27268E6034F}"/>
              </a:ext>
            </a:extLst>
          </p:cNvPr>
          <p:cNvSpPr/>
          <p:nvPr/>
        </p:nvSpPr>
        <p:spPr>
          <a:xfrm>
            <a:off x="1673495" y="3397492"/>
            <a:ext cx="1852863" cy="721895"/>
          </a:xfrm>
          <a:prstGeom prst="chevron">
            <a:avLst/>
          </a:prstGeom>
          <a:ln/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270000" tIns="270000" rIns="270000" bIns="270000" rtlCol="0" anchor="ctr"/>
          <a:lstStyle/>
          <a:p>
            <a:pPr algn="ctr"/>
            <a:r>
              <a:rPr lang="nb-NO" sz="1600" dirty="0">
                <a:solidFill>
                  <a:schemeClr val="bg1"/>
                </a:solidFill>
              </a:rPr>
              <a:t>1</a:t>
            </a:r>
            <a:endParaRPr lang="nb-NO" sz="1600" noProof="0" dirty="0">
              <a:solidFill>
                <a:schemeClr val="bg1"/>
              </a:solidFill>
            </a:endParaRPr>
          </a:p>
        </p:txBody>
      </p:sp>
      <p:sp>
        <p:nvSpPr>
          <p:cNvPr id="10" name="Vinkeltegn 9">
            <a:extLst>
              <a:ext uri="{FF2B5EF4-FFF2-40B4-BE49-F238E27FC236}">
                <a16:creationId xmlns:a16="http://schemas.microsoft.com/office/drawing/2014/main" id="{A74C58C8-CC4C-C3BD-1113-761471A77726}"/>
              </a:ext>
            </a:extLst>
          </p:cNvPr>
          <p:cNvSpPr/>
          <p:nvPr/>
        </p:nvSpPr>
        <p:spPr>
          <a:xfrm>
            <a:off x="3967516" y="3397491"/>
            <a:ext cx="1852863" cy="721895"/>
          </a:xfrm>
          <a:prstGeom prst="chevron">
            <a:avLst/>
          </a:prstGeom>
          <a:ln/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270000" tIns="270000" rIns="270000" bIns="270000" rtlCol="0" anchor="ctr"/>
          <a:lstStyle/>
          <a:p>
            <a:pPr algn="ctr"/>
            <a:r>
              <a:rPr lang="nb-NO" sz="1600" noProof="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1" name="Vinkeltegn 10">
            <a:extLst>
              <a:ext uri="{FF2B5EF4-FFF2-40B4-BE49-F238E27FC236}">
                <a16:creationId xmlns:a16="http://schemas.microsoft.com/office/drawing/2014/main" id="{FE82D460-D14D-EFEA-CB86-8F41A64AE261}"/>
              </a:ext>
            </a:extLst>
          </p:cNvPr>
          <p:cNvSpPr/>
          <p:nvPr/>
        </p:nvSpPr>
        <p:spPr>
          <a:xfrm>
            <a:off x="6261537" y="3397490"/>
            <a:ext cx="1852863" cy="721895"/>
          </a:xfrm>
          <a:prstGeom prst="chevron">
            <a:avLst/>
          </a:prstGeom>
          <a:ln/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270000" tIns="270000" rIns="270000" bIns="270000" rtlCol="0" anchor="ctr"/>
          <a:lstStyle/>
          <a:p>
            <a:pPr algn="ctr"/>
            <a:r>
              <a:rPr lang="nb-NO" sz="1600" noProof="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2" name="Vinkeltegn 11">
            <a:extLst>
              <a:ext uri="{FF2B5EF4-FFF2-40B4-BE49-F238E27FC236}">
                <a16:creationId xmlns:a16="http://schemas.microsoft.com/office/drawing/2014/main" id="{BDF1D2BA-3CEF-81D7-5317-83B800A46AF2}"/>
              </a:ext>
            </a:extLst>
          </p:cNvPr>
          <p:cNvSpPr/>
          <p:nvPr/>
        </p:nvSpPr>
        <p:spPr>
          <a:xfrm>
            <a:off x="8555558" y="3397490"/>
            <a:ext cx="1852863" cy="721895"/>
          </a:xfrm>
          <a:prstGeom prst="chevron">
            <a:avLst/>
          </a:prstGeom>
          <a:ln/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270000" tIns="270000" rIns="270000" bIns="270000" rtlCol="0" anchor="ctr"/>
          <a:lstStyle/>
          <a:p>
            <a:pPr algn="ctr"/>
            <a:r>
              <a:rPr lang="nb-NO" sz="1600" noProof="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038333B4-E88B-A7F5-4A4C-CD8BD1EAC674}"/>
              </a:ext>
            </a:extLst>
          </p:cNvPr>
          <p:cNvSpPr txBox="1"/>
          <p:nvPr/>
        </p:nvSpPr>
        <p:spPr>
          <a:xfrm>
            <a:off x="3562454" y="3252292"/>
            <a:ext cx="519373" cy="8309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nb-NO" sz="5400" dirty="0">
                <a:solidFill>
                  <a:schemeClr val="tx2"/>
                </a:solidFill>
              </a:rPr>
              <a:t>...</a:t>
            </a: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C2964C9C-6AA7-C780-5294-6EF34111AFD6}"/>
              </a:ext>
            </a:extLst>
          </p:cNvPr>
          <p:cNvSpPr txBox="1"/>
          <p:nvPr/>
        </p:nvSpPr>
        <p:spPr>
          <a:xfrm>
            <a:off x="5899245" y="3235889"/>
            <a:ext cx="519373" cy="8309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nb-NO" sz="5400" dirty="0">
                <a:solidFill>
                  <a:schemeClr val="tx2"/>
                </a:solidFill>
              </a:rPr>
              <a:t>...</a:t>
            </a:r>
          </a:p>
        </p:txBody>
      </p:sp>
      <p:sp>
        <p:nvSpPr>
          <p:cNvPr id="15" name="TekstSylinder 14">
            <a:extLst>
              <a:ext uri="{FF2B5EF4-FFF2-40B4-BE49-F238E27FC236}">
                <a16:creationId xmlns:a16="http://schemas.microsoft.com/office/drawing/2014/main" id="{63614AEF-D194-C1DD-926D-A1DBC61EF28D}"/>
              </a:ext>
            </a:extLst>
          </p:cNvPr>
          <p:cNvSpPr txBox="1"/>
          <p:nvPr/>
        </p:nvSpPr>
        <p:spPr>
          <a:xfrm>
            <a:off x="8231027" y="3263910"/>
            <a:ext cx="519373" cy="8309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nb-NO" sz="5400" dirty="0">
                <a:solidFill>
                  <a:schemeClr val="tx2"/>
                </a:solidFill>
              </a:rPr>
              <a:t>...</a:t>
            </a:r>
          </a:p>
        </p:txBody>
      </p:sp>
      <p:pic>
        <p:nvPicPr>
          <p:cNvPr id="17" name="Grafikk 16" descr="Høyspenning med heldekkende fyll">
            <a:extLst>
              <a:ext uri="{FF2B5EF4-FFF2-40B4-BE49-F238E27FC236}">
                <a16:creationId xmlns:a16="http://schemas.microsoft.com/office/drawing/2014/main" id="{D13F5598-7822-0EF9-CF41-BA575764D70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6830" y="3301237"/>
            <a:ext cx="914400" cy="914400"/>
          </a:xfrm>
          <a:prstGeom prst="rect">
            <a:avLst/>
          </a:prstGeom>
        </p:spPr>
      </p:pic>
      <p:sp>
        <p:nvSpPr>
          <p:cNvPr id="18" name="TekstSylinder 17">
            <a:extLst>
              <a:ext uri="{FF2B5EF4-FFF2-40B4-BE49-F238E27FC236}">
                <a16:creationId xmlns:a16="http://schemas.microsoft.com/office/drawing/2014/main" id="{34DEEF70-EC2A-6AC1-39C5-60B3DA90AEB1}"/>
              </a:ext>
            </a:extLst>
          </p:cNvPr>
          <p:cNvSpPr txBox="1"/>
          <p:nvPr/>
        </p:nvSpPr>
        <p:spPr>
          <a:xfrm>
            <a:off x="735064" y="4215637"/>
            <a:ext cx="63793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nb-NO" sz="1600" dirty="0">
                <a:solidFill>
                  <a:schemeClr val="tx2"/>
                </a:solidFill>
              </a:rPr>
              <a:t>Trigger</a:t>
            </a:r>
          </a:p>
        </p:txBody>
      </p:sp>
      <p:pic>
        <p:nvPicPr>
          <p:cNvPr id="20" name="Grafikk 19" descr="Dypfryser kasser med heldekkende fyll">
            <a:extLst>
              <a:ext uri="{FF2B5EF4-FFF2-40B4-BE49-F238E27FC236}">
                <a16:creationId xmlns:a16="http://schemas.microsoft.com/office/drawing/2014/main" id="{0804349E-0EE6-37CC-0EA7-52DABE4FAE5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575917" y="3301237"/>
            <a:ext cx="914400" cy="914400"/>
          </a:xfrm>
          <a:prstGeom prst="rect">
            <a:avLst/>
          </a:prstGeom>
        </p:spPr>
      </p:pic>
      <p:sp>
        <p:nvSpPr>
          <p:cNvPr id="21" name="TekstSylinder 20">
            <a:extLst>
              <a:ext uri="{FF2B5EF4-FFF2-40B4-BE49-F238E27FC236}">
                <a16:creationId xmlns:a16="http://schemas.microsoft.com/office/drawing/2014/main" id="{4B43522C-B811-3138-3C5E-9CEFE32EC4B2}"/>
              </a:ext>
            </a:extLst>
          </p:cNvPr>
          <p:cNvSpPr txBox="1"/>
          <p:nvPr/>
        </p:nvSpPr>
        <p:spPr>
          <a:xfrm>
            <a:off x="10792762" y="4215636"/>
            <a:ext cx="48070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nb-NO" sz="1600" dirty="0">
                <a:solidFill>
                  <a:schemeClr val="tx2"/>
                </a:solidFill>
              </a:rPr>
              <a:t>Verdi</a:t>
            </a:r>
          </a:p>
        </p:txBody>
      </p:sp>
      <p:grpSp>
        <p:nvGrpSpPr>
          <p:cNvPr id="49" name="Gruppe 48">
            <a:extLst>
              <a:ext uri="{FF2B5EF4-FFF2-40B4-BE49-F238E27FC236}">
                <a16:creationId xmlns:a16="http://schemas.microsoft.com/office/drawing/2014/main" id="{4ABB37E5-DB8F-2BA8-630D-03017E421422}"/>
              </a:ext>
            </a:extLst>
          </p:cNvPr>
          <p:cNvGrpSpPr/>
          <p:nvPr/>
        </p:nvGrpSpPr>
        <p:grpSpPr>
          <a:xfrm>
            <a:off x="1054030" y="2270775"/>
            <a:ext cx="9979086" cy="1030462"/>
            <a:chOff x="1054030" y="2270775"/>
            <a:chExt cx="9979086" cy="1030462"/>
          </a:xfrm>
        </p:grpSpPr>
        <p:sp>
          <p:nvSpPr>
            <p:cNvPr id="24" name="TekstSylinder 23">
              <a:extLst>
                <a:ext uri="{FF2B5EF4-FFF2-40B4-BE49-F238E27FC236}">
                  <a16:creationId xmlns:a16="http://schemas.microsoft.com/office/drawing/2014/main" id="{7661CA05-C68A-66E7-9E89-099422EF502C}"/>
                </a:ext>
              </a:extLst>
            </p:cNvPr>
            <p:cNvSpPr txBox="1"/>
            <p:nvPr/>
          </p:nvSpPr>
          <p:spPr>
            <a:xfrm>
              <a:off x="5560018" y="2270775"/>
              <a:ext cx="916918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nb-NO" sz="1600" dirty="0">
                  <a:solidFill>
                    <a:schemeClr val="tx2"/>
                  </a:solidFill>
                </a:rPr>
                <a:t>Lead time</a:t>
              </a:r>
            </a:p>
          </p:txBody>
        </p:sp>
        <p:grpSp>
          <p:nvGrpSpPr>
            <p:cNvPr id="48" name="Gruppe 47">
              <a:extLst>
                <a:ext uri="{FF2B5EF4-FFF2-40B4-BE49-F238E27FC236}">
                  <a16:creationId xmlns:a16="http://schemas.microsoft.com/office/drawing/2014/main" id="{7690D35D-5059-06D1-06E2-E3EE25931553}"/>
                </a:ext>
              </a:extLst>
            </p:cNvPr>
            <p:cNvGrpSpPr/>
            <p:nvPr/>
          </p:nvGrpSpPr>
          <p:grpSpPr>
            <a:xfrm>
              <a:off x="1054030" y="2550695"/>
              <a:ext cx="9979086" cy="750542"/>
              <a:chOff x="1054030" y="2550695"/>
              <a:chExt cx="9979086" cy="750542"/>
            </a:xfrm>
          </p:grpSpPr>
          <p:cxnSp>
            <p:nvCxnSpPr>
              <p:cNvPr id="23" name="Rett linje 22">
                <a:extLst>
                  <a:ext uri="{FF2B5EF4-FFF2-40B4-BE49-F238E27FC236}">
                    <a16:creationId xmlns:a16="http://schemas.microsoft.com/office/drawing/2014/main" id="{1440E896-71A5-5A16-DDEC-11CF737A8D1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58779" y="2550695"/>
                <a:ext cx="9906821" cy="0"/>
              </a:xfrm>
              <a:prstGeom prst="line">
                <a:avLst/>
              </a:prstGeom>
              <a:ln w="28575">
                <a:solidFill>
                  <a:schemeClr val="accent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Rett linje 24">
                <a:extLst>
                  <a:ext uri="{FF2B5EF4-FFF2-40B4-BE49-F238E27FC236}">
                    <a16:creationId xmlns:a16="http://schemas.microsoft.com/office/drawing/2014/main" id="{4CB08713-8F03-C54D-F788-40D0DF9C44B1}"/>
                  </a:ext>
                </a:extLst>
              </p:cNvPr>
              <p:cNvCxnSpPr>
                <a:cxnSpLocks/>
                <a:endCxn id="17" idx="0"/>
              </p:cNvCxnSpPr>
              <p:nvPr/>
            </p:nvCxnSpPr>
            <p:spPr>
              <a:xfrm>
                <a:off x="1054030" y="2550695"/>
                <a:ext cx="0" cy="750542"/>
              </a:xfrm>
              <a:prstGeom prst="line">
                <a:avLst/>
              </a:prstGeom>
              <a:ln w="28575">
                <a:solidFill>
                  <a:schemeClr val="accent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Rett linje 28">
                <a:extLst>
                  <a:ext uri="{FF2B5EF4-FFF2-40B4-BE49-F238E27FC236}">
                    <a16:creationId xmlns:a16="http://schemas.microsoft.com/office/drawing/2014/main" id="{E2D170B4-C70E-17B9-A87E-2A5A3ED951B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033116" y="2550695"/>
                <a:ext cx="0" cy="750542"/>
              </a:xfrm>
              <a:prstGeom prst="line">
                <a:avLst/>
              </a:prstGeom>
              <a:ln w="28575">
                <a:solidFill>
                  <a:schemeClr val="accent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38" name="Grafikk 37" descr="Brukere med heldekkende fyll">
            <a:extLst>
              <a:ext uri="{FF2B5EF4-FFF2-40B4-BE49-F238E27FC236}">
                <a16:creationId xmlns:a16="http://schemas.microsoft.com/office/drawing/2014/main" id="{823294A4-ED17-B317-B47E-6A528667609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138603" y="4066886"/>
            <a:ext cx="914400" cy="914400"/>
          </a:xfrm>
          <a:prstGeom prst="rect">
            <a:avLst/>
          </a:prstGeom>
        </p:spPr>
      </p:pic>
      <p:pic>
        <p:nvPicPr>
          <p:cNvPr id="39" name="Grafikk 38" descr="Brukere med heldekkende fyll">
            <a:extLst>
              <a:ext uri="{FF2B5EF4-FFF2-40B4-BE49-F238E27FC236}">
                <a16:creationId xmlns:a16="http://schemas.microsoft.com/office/drawing/2014/main" id="{52B57B7A-AFE0-4B29-65AE-E9152454F7F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434379" y="4071056"/>
            <a:ext cx="914400" cy="914400"/>
          </a:xfrm>
          <a:prstGeom prst="rect">
            <a:avLst/>
          </a:prstGeom>
        </p:spPr>
      </p:pic>
      <p:pic>
        <p:nvPicPr>
          <p:cNvPr id="40" name="Grafikk 39" descr="Brukere med heldekkende fyll">
            <a:extLst>
              <a:ext uri="{FF2B5EF4-FFF2-40B4-BE49-F238E27FC236}">
                <a16:creationId xmlns:a16="http://schemas.microsoft.com/office/drawing/2014/main" id="{D15F7614-A8D5-1D8C-7F04-D203F34808A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730636" y="4074057"/>
            <a:ext cx="914400" cy="914400"/>
          </a:xfrm>
          <a:prstGeom prst="rect">
            <a:avLst/>
          </a:prstGeom>
        </p:spPr>
      </p:pic>
      <p:pic>
        <p:nvPicPr>
          <p:cNvPr id="41" name="Grafikk 40" descr="Brukere med heldekkende fyll">
            <a:extLst>
              <a:ext uri="{FF2B5EF4-FFF2-40B4-BE49-F238E27FC236}">
                <a16:creationId xmlns:a16="http://schemas.microsoft.com/office/drawing/2014/main" id="{1449B899-A315-8E1F-2B24-B6C1B80D984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025517" y="4051779"/>
            <a:ext cx="914400" cy="914400"/>
          </a:xfrm>
          <a:prstGeom prst="rect">
            <a:avLst/>
          </a:prstGeom>
        </p:spPr>
      </p:pic>
      <p:sp>
        <p:nvSpPr>
          <p:cNvPr id="42" name="TekstSylinder 41">
            <a:extLst>
              <a:ext uri="{FF2B5EF4-FFF2-40B4-BE49-F238E27FC236}">
                <a16:creationId xmlns:a16="http://schemas.microsoft.com/office/drawing/2014/main" id="{E857513E-C7B3-75C9-2753-3A480F872B71}"/>
              </a:ext>
            </a:extLst>
          </p:cNvPr>
          <p:cNvSpPr txBox="1"/>
          <p:nvPr/>
        </p:nvSpPr>
        <p:spPr>
          <a:xfrm>
            <a:off x="3376152" y="5215512"/>
            <a:ext cx="891975" cy="24622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nb-NO" sz="1600" dirty="0" err="1">
                <a:solidFill>
                  <a:schemeClr val="accent6"/>
                </a:solidFill>
              </a:rPr>
              <a:t>Handover</a:t>
            </a:r>
            <a:endParaRPr lang="nb-NO" sz="1600" dirty="0">
              <a:solidFill>
                <a:schemeClr val="accent6"/>
              </a:solidFill>
            </a:endParaRPr>
          </a:p>
        </p:txBody>
      </p:sp>
      <p:cxnSp>
        <p:nvCxnSpPr>
          <p:cNvPr id="44" name="Rett pil 43">
            <a:extLst>
              <a:ext uri="{FF2B5EF4-FFF2-40B4-BE49-F238E27FC236}">
                <a16:creationId xmlns:a16="http://schemas.microsoft.com/office/drawing/2014/main" id="{C2D92ACD-E880-9DFE-4C20-910C96A75DC1}"/>
              </a:ext>
            </a:extLst>
          </p:cNvPr>
          <p:cNvCxnSpPr>
            <a:stCxn id="42" idx="0"/>
          </p:cNvCxnSpPr>
          <p:nvPr/>
        </p:nvCxnSpPr>
        <p:spPr>
          <a:xfrm flipV="1">
            <a:off x="3822140" y="3978227"/>
            <a:ext cx="0" cy="1237285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Rett pil 44">
            <a:extLst>
              <a:ext uri="{FF2B5EF4-FFF2-40B4-BE49-F238E27FC236}">
                <a16:creationId xmlns:a16="http://schemas.microsoft.com/office/drawing/2014/main" id="{6760583A-D8B5-2B14-C152-985A390F01E8}"/>
              </a:ext>
            </a:extLst>
          </p:cNvPr>
          <p:cNvCxnSpPr/>
          <p:nvPr/>
        </p:nvCxnSpPr>
        <p:spPr>
          <a:xfrm flipV="1">
            <a:off x="6096000" y="3978227"/>
            <a:ext cx="0" cy="1237285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Rett pil 45">
            <a:extLst>
              <a:ext uri="{FF2B5EF4-FFF2-40B4-BE49-F238E27FC236}">
                <a16:creationId xmlns:a16="http://schemas.microsoft.com/office/drawing/2014/main" id="{9C79162F-BEB9-CE3D-D9BE-F625D42627C0}"/>
              </a:ext>
            </a:extLst>
          </p:cNvPr>
          <p:cNvCxnSpPr/>
          <p:nvPr/>
        </p:nvCxnSpPr>
        <p:spPr>
          <a:xfrm flipV="1">
            <a:off x="8378537" y="3944411"/>
            <a:ext cx="0" cy="1237285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kstSylinder 46">
            <a:extLst>
              <a:ext uri="{FF2B5EF4-FFF2-40B4-BE49-F238E27FC236}">
                <a16:creationId xmlns:a16="http://schemas.microsoft.com/office/drawing/2014/main" id="{FB7F7670-3EAE-DC32-281D-6DEB4ADA741B}"/>
              </a:ext>
            </a:extLst>
          </p:cNvPr>
          <p:cNvSpPr txBox="1"/>
          <p:nvPr/>
        </p:nvSpPr>
        <p:spPr>
          <a:xfrm>
            <a:off x="4342320" y="5210842"/>
            <a:ext cx="946926" cy="24622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nb-NO" sz="1600" dirty="0">
                <a:solidFill>
                  <a:schemeClr val="accent6"/>
                </a:solidFill>
              </a:rPr>
              <a:t>+ ventetid</a:t>
            </a:r>
          </a:p>
        </p:txBody>
      </p:sp>
    </p:spTree>
    <p:extLst>
      <p:ext uri="{BB962C8B-B14F-4D97-AF65-F5344CB8AC3E}">
        <p14:creationId xmlns:p14="http://schemas.microsoft.com/office/powerpoint/2010/main" val="31031814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 animBg="1"/>
      <p:bldP spid="47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939C145F-FCA7-EE06-EE2E-B7842B56DD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err="1"/>
              <a:t>Verdistrømmap</a:t>
            </a:r>
            <a:r>
              <a:rPr lang="nb-NO" dirty="0"/>
              <a:t> </a:t>
            </a:r>
            <a:r>
              <a:rPr lang="nb-NO" dirty="0" err="1"/>
              <a:t>datauttrekk</a:t>
            </a:r>
            <a:endParaRPr lang="nb-NO" dirty="0"/>
          </a:p>
        </p:txBody>
      </p:sp>
      <p:sp>
        <p:nvSpPr>
          <p:cNvPr id="4" name="Undertittel 3">
            <a:extLst>
              <a:ext uri="{FF2B5EF4-FFF2-40B4-BE49-F238E27FC236}">
                <a16:creationId xmlns:a16="http://schemas.microsoft.com/office/drawing/2014/main" id="{C725D01A-EF51-C3A8-4A33-7686B300FD8A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nb-NO" dirty="0"/>
              <a:t>Møt </a:t>
            </a:r>
            <a:r>
              <a:rPr lang="nb-NO" dirty="0" err="1"/>
              <a:t>Eglev</a:t>
            </a:r>
            <a:r>
              <a:rPr lang="nb-NO" dirty="0"/>
              <a:t> – vår LLM analytiker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744334EA-6371-E0A0-1980-9B186FD7EA3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DC86258A-CC81-5F3A-08CA-EB0A02D5C5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5E5B0D4-5AB7-934A-ACB2-402E254193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nb-NO" smtClean="0"/>
              <a:t>17</a:t>
            </a:fld>
            <a:endParaRPr lang="nb-NO"/>
          </a:p>
        </p:txBody>
      </p:sp>
      <p:sp>
        <p:nvSpPr>
          <p:cNvPr id="9" name="Vinkeltegn 8">
            <a:extLst>
              <a:ext uri="{FF2B5EF4-FFF2-40B4-BE49-F238E27FC236}">
                <a16:creationId xmlns:a16="http://schemas.microsoft.com/office/drawing/2014/main" id="{722DFF37-F90F-6842-D2D7-A27268E6034F}"/>
              </a:ext>
            </a:extLst>
          </p:cNvPr>
          <p:cNvSpPr/>
          <p:nvPr/>
        </p:nvSpPr>
        <p:spPr>
          <a:xfrm>
            <a:off x="2715217" y="3393940"/>
            <a:ext cx="1852863" cy="721895"/>
          </a:xfrm>
          <a:prstGeom prst="chevron">
            <a:avLst/>
          </a:prstGeom>
          <a:ln/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270000" tIns="270000" rIns="270000" bIns="270000" rtlCol="0" anchor="ctr"/>
          <a:lstStyle/>
          <a:p>
            <a:pPr algn="ctr"/>
            <a:r>
              <a:rPr lang="nb-NO" sz="1600" dirty="0">
                <a:solidFill>
                  <a:schemeClr val="bg1"/>
                </a:solidFill>
              </a:rPr>
              <a:t>1</a:t>
            </a:r>
            <a:endParaRPr lang="nb-NO" sz="1600" noProof="0" dirty="0">
              <a:solidFill>
                <a:schemeClr val="bg1"/>
              </a:solidFill>
            </a:endParaRPr>
          </a:p>
        </p:txBody>
      </p:sp>
      <p:sp>
        <p:nvSpPr>
          <p:cNvPr id="10" name="Vinkeltegn 9">
            <a:extLst>
              <a:ext uri="{FF2B5EF4-FFF2-40B4-BE49-F238E27FC236}">
                <a16:creationId xmlns:a16="http://schemas.microsoft.com/office/drawing/2014/main" id="{A74C58C8-CC4C-C3BD-1113-761471A77726}"/>
              </a:ext>
            </a:extLst>
          </p:cNvPr>
          <p:cNvSpPr/>
          <p:nvPr/>
        </p:nvSpPr>
        <p:spPr>
          <a:xfrm>
            <a:off x="5009238" y="3393939"/>
            <a:ext cx="1852863" cy="721895"/>
          </a:xfrm>
          <a:prstGeom prst="chevron">
            <a:avLst/>
          </a:prstGeom>
          <a:ln/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270000" tIns="270000" rIns="270000" bIns="270000" rtlCol="0" anchor="ctr"/>
          <a:lstStyle/>
          <a:p>
            <a:pPr algn="ctr"/>
            <a:r>
              <a:rPr lang="nb-NO" sz="1600" noProof="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1" name="Vinkeltegn 10">
            <a:extLst>
              <a:ext uri="{FF2B5EF4-FFF2-40B4-BE49-F238E27FC236}">
                <a16:creationId xmlns:a16="http://schemas.microsoft.com/office/drawing/2014/main" id="{FE82D460-D14D-EFEA-CB86-8F41A64AE261}"/>
              </a:ext>
            </a:extLst>
          </p:cNvPr>
          <p:cNvSpPr/>
          <p:nvPr/>
        </p:nvSpPr>
        <p:spPr>
          <a:xfrm>
            <a:off x="7303259" y="3393938"/>
            <a:ext cx="1852863" cy="721895"/>
          </a:xfrm>
          <a:prstGeom prst="chevron">
            <a:avLst/>
          </a:prstGeom>
          <a:ln/>
        </p:spPr>
        <p:style>
          <a:lnRef idx="2">
            <a:schemeClr val="accent5">
              <a:shade val="15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270000" tIns="270000" rIns="270000" bIns="270000" rtlCol="0" anchor="ctr"/>
          <a:lstStyle/>
          <a:p>
            <a:pPr algn="ctr"/>
            <a:r>
              <a:rPr lang="nb-NO" sz="1600" noProof="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038333B4-E88B-A7F5-4A4C-CD8BD1EAC674}"/>
              </a:ext>
            </a:extLst>
          </p:cNvPr>
          <p:cNvSpPr txBox="1"/>
          <p:nvPr/>
        </p:nvSpPr>
        <p:spPr>
          <a:xfrm>
            <a:off x="4604176" y="3248740"/>
            <a:ext cx="519373" cy="8309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nb-NO" sz="5400" dirty="0">
                <a:solidFill>
                  <a:schemeClr val="tx2"/>
                </a:solidFill>
              </a:rPr>
              <a:t>...</a:t>
            </a: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C2964C9C-6AA7-C780-5294-6EF34111AFD6}"/>
              </a:ext>
            </a:extLst>
          </p:cNvPr>
          <p:cNvSpPr txBox="1"/>
          <p:nvPr/>
        </p:nvSpPr>
        <p:spPr>
          <a:xfrm>
            <a:off x="6940967" y="3232337"/>
            <a:ext cx="519373" cy="8309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nb-NO" sz="5400" dirty="0">
                <a:solidFill>
                  <a:schemeClr val="tx2"/>
                </a:solidFill>
              </a:rPr>
              <a:t>...</a:t>
            </a:r>
          </a:p>
        </p:txBody>
      </p:sp>
      <p:pic>
        <p:nvPicPr>
          <p:cNvPr id="17" name="Grafikk 16" descr="Høyspenning med heldekkende fyll">
            <a:extLst>
              <a:ext uri="{FF2B5EF4-FFF2-40B4-BE49-F238E27FC236}">
                <a16:creationId xmlns:a16="http://schemas.microsoft.com/office/drawing/2014/main" id="{D13F5598-7822-0EF9-CF41-BA575764D70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9478" y="3301237"/>
            <a:ext cx="914400" cy="914400"/>
          </a:xfrm>
          <a:prstGeom prst="rect">
            <a:avLst/>
          </a:prstGeom>
        </p:spPr>
      </p:pic>
      <p:sp>
        <p:nvSpPr>
          <p:cNvPr id="18" name="TekstSylinder 17">
            <a:extLst>
              <a:ext uri="{FF2B5EF4-FFF2-40B4-BE49-F238E27FC236}">
                <a16:creationId xmlns:a16="http://schemas.microsoft.com/office/drawing/2014/main" id="{34DEEF70-EC2A-6AC1-39C5-60B3DA90AEB1}"/>
              </a:ext>
            </a:extLst>
          </p:cNvPr>
          <p:cNvSpPr txBox="1"/>
          <p:nvPr/>
        </p:nvSpPr>
        <p:spPr>
          <a:xfrm>
            <a:off x="5009238" y="2828896"/>
            <a:ext cx="185286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nb-NO" sz="1600" dirty="0">
                <a:solidFill>
                  <a:schemeClr val="tx2"/>
                </a:solidFill>
              </a:rPr>
              <a:t>Analytiker eller data </a:t>
            </a:r>
            <a:r>
              <a:rPr lang="nb-NO" sz="1600" dirty="0" err="1">
                <a:solidFill>
                  <a:schemeClr val="tx2"/>
                </a:solidFill>
              </a:rPr>
              <a:t>engineer</a:t>
            </a:r>
            <a:endParaRPr lang="nb-NO" sz="1600" dirty="0">
              <a:solidFill>
                <a:schemeClr val="tx2"/>
              </a:solidFill>
            </a:endParaRPr>
          </a:p>
        </p:txBody>
      </p:sp>
      <p:pic>
        <p:nvPicPr>
          <p:cNvPr id="20" name="Grafikk 19" descr="Dypfryser kasser med heldekkende fyll">
            <a:extLst>
              <a:ext uri="{FF2B5EF4-FFF2-40B4-BE49-F238E27FC236}">
                <a16:creationId xmlns:a16="http://schemas.microsoft.com/office/drawing/2014/main" id="{0804349E-0EE6-37CC-0EA7-52DABE4FAE5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917461" y="3301237"/>
            <a:ext cx="914400" cy="914400"/>
          </a:xfrm>
          <a:prstGeom prst="rect">
            <a:avLst/>
          </a:prstGeom>
        </p:spPr>
      </p:pic>
      <p:sp>
        <p:nvSpPr>
          <p:cNvPr id="21" name="TekstSylinder 20">
            <a:extLst>
              <a:ext uri="{FF2B5EF4-FFF2-40B4-BE49-F238E27FC236}">
                <a16:creationId xmlns:a16="http://schemas.microsoft.com/office/drawing/2014/main" id="{4B43522C-B811-3138-3C5E-9CEFE32EC4B2}"/>
              </a:ext>
            </a:extLst>
          </p:cNvPr>
          <p:cNvSpPr txBox="1"/>
          <p:nvPr/>
        </p:nvSpPr>
        <p:spPr>
          <a:xfrm>
            <a:off x="9720165" y="4218090"/>
            <a:ext cx="1379958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nb-NO" sz="1600" dirty="0">
                <a:solidFill>
                  <a:schemeClr val="tx2"/>
                </a:solidFill>
              </a:rPr>
              <a:t>Lage presentasjon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7B8F5019-4DA2-5CBF-2051-0095CCA53FE5}"/>
              </a:ext>
            </a:extLst>
          </p:cNvPr>
          <p:cNvSpPr txBox="1"/>
          <p:nvPr/>
        </p:nvSpPr>
        <p:spPr>
          <a:xfrm>
            <a:off x="2711879" y="2839699"/>
            <a:ext cx="18528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nb-NO" sz="1600" dirty="0">
                <a:solidFill>
                  <a:schemeClr val="tx2"/>
                </a:solidFill>
              </a:rPr>
              <a:t>Forretningsutvikler</a:t>
            </a: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99C6B11A-1526-CA41-F263-C9CAFFAA90B8}"/>
              </a:ext>
            </a:extLst>
          </p:cNvPr>
          <p:cNvSpPr txBox="1"/>
          <p:nvPr/>
        </p:nvSpPr>
        <p:spPr>
          <a:xfrm>
            <a:off x="7303258" y="2828896"/>
            <a:ext cx="185286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nb-NO" sz="1600" dirty="0">
                <a:solidFill>
                  <a:schemeClr val="tx2"/>
                </a:solidFill>
              </a:rPr>
              <a:t>Forretningsutvikler</a:t>
            </a:r>
          </a:p>
        </p:txBody>
      </p:sp>
      <p:sp>
        <p:nvSpPr>
          <p:cNvPr id="16" name="TekstSylinder 15">
            <a:extLst>
              <a:ext uri="{FF2B5EF4-FFF2-40B4-BE49-F238E27FC236}">
                <a16:creationId xmlns:a16="http://schemas.microsoft.com/office/drawing/2014/main" id="{B3042F47-1F49-91DA-FEC9-82E9B18CBAD1}"/>
              </a:ext>
            </a:extLst>
          </p:cNvPr>
          <p:cNvSpPr txBox="1"/>
          <p:nvPr/>
        </p:nvSpPr>
        <p:spPr>
          <a:xfrm>
            <a:off x="2711879" y="4416315"/>
            <a:ext cx="185286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nb-NO" sz="1400" dirty="0">
                <a:solidFill>
                  <a:schemeClr val="tx2"/>
                </a:solidFill>
              </a:rPr>
              <a:t>Sender epost med beskrivelse av behovet</a:t>
            </a:r>
          </a:p>
        </p:txBody>
      </p:sp>
      <p:sp>
        <p:nvSpPr>
          <p:cNvPr id="19" name="TekstSylinder 18">
            <a:extLst>
              <a:ext uri="{FF2B5EF4-FFF2-40B4-BE49-F238E27FC236}">
                <a16:creationId xmlns:a16="http://schemas.microsoft.com/office/drawing/2014/main" id="{F8CE82F0-AF96-CD92-6C31-6F38FD638D6B}"/>
              </a:ext>
            </a:extLst>
          </p:cNvPr>
          <p:cNvSpPr txBox="1"/>
          <p:nvPr/>
        </p:nvSpPr>
        <p:spPr>
          <a:xfrm>
            <a:off x="5009237" y="4416315"/>
            <a:ext cx="1852863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nb-NO" sz="1400" dirty="0">
                <a:solidFill>
                  <a:schemeClr val="tx2"/>
                </a:solidFill>
              </a:rPr>
              <a:t>Skriver SQL spørring basert på forespørsel og sender tilbake</a:t>
            </a:r>
          </a:p>
        </p:txBody>
      </p:sp>
      <p:sp>
        <p:nvSpPr>
          <p:cNvPr id="22" name="TekstSylinder 21">
            <a:extLst>
              <a:ext uri="{FF2B5EF4-FFF2-40B4-BE49-F238E27FC236}">
                <a16:creationId xmlns:a16="http://schemas.microsoft.com/office/drawing/2014/main" id="{EA0625D8-E2AC-B3D4-4B0D-EDCE14ABABCE}"/>
              </a:ext>
            </a:extLst>
          </p:cNvPr>
          <p:cNvSpPr txBox="1"/>
          <p:nvPr/>
        </p:nvSpPr>
        <p:spPr>
          <a:xfrm>
            <a:off x="7303258" y="4402011"/>
            <a:ext cx="185286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nb-NO" sz="1400" dirty="0">
                <a:solidFill>
                  <a:schemeClr val="tx2"/>
                </a:solidFill>
              </a:rPr>
              <a:t>Tar beslutning / rapporterer på data</a:t>
            </a:r>
          </a:p>
        </p:txBody>
      </p:sp>
      <p:sp>
        <p:nvSpPr>
          <p:cNvPr id="26" name="TekstSylinder 25">
            <a:extLst>
              <a:ext uri="{FF2B5EF4-FFF2-40B4-BE49-F238E27FC236}">
                <a16:creationId xmlns:a16="http://schemas.microsoft.com/office/drawing/2014/main" id="{1DF5814C-8194-CA87-0684-A0A418200498}"/>
              </a:ext>
            </a:extLst>
          </p:cNvPr>
          <p:cNvSpPr txBox="1"/>
          <p:nvPr/>
        </p:nvSpPr>
        <p:spPr>
          <a:xfrm>
            <a:off x="787079" y="4215637"/>
            <a:ext cx="148030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nb-NO" sz="1600" dirty="0">
                <a:solidFill>
                  <a:schemeClr val="tx2"/>
                </a:solidFill>
              </a:rPr>
              <a:t>Forespørsel om presentasjon</a:t>
            </a:r>
          </a:p>
        </p:txBody>
      </p:sp>
      <p:pic>
        <p:nvPicPr>
          <p:cNvPr id="30" name="Grafikk 29" descr="Linjepil: roter mot venstre med heldekkende fyll">
            <a:extLst>
              <a:ext uri="{FF2B5EF4-FFF2-40B4-BE49-F238E27FC236}">
                <a16:creationId xmlns:a16="http://schemas.microsoft.com/office/drawing/2014/main" id="{52029EBD-6633-140A-9890-0628E16F610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20572405">
            <a:off x="4226170" y="1921731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67952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21" grpId="0"/>
      <p:bldP spid="3" grpId="0"/>
      <p:bldP spid="8" grpId="0"/>
      <p:bldP spid="16" grpId="0"/>
      <p:bldP spid="19" grpId="0"/>
      <p:bldP spid="22" grpId="0"/>
      <p:bldP spid="26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5DBF31-37F7-A297-BACD-BE1184ED2E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Lean Startup metoden</a:t>
            </a:r>
          </a:p>
        </p:txBody>
      </p:sp>
      <p:sp>
        <p:nvSpPr>
          <p:cNvPr id="9" name="Plassholder for innhold 8">
            <a:extLst>
              <a:ext uri="{FF2B5EF4-FFF2-40B4-BE49-F238E27FC236}">
                <a16:creationId xmlns:a16="http://schemas.microsoft.com/office/drawing/2014/main" id="{1BF03495-2CD3-CE1E-ECE5-B431F01AC4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00" y="1951199"/>
            <a:ext cx="5132653" cy="1208937"/>
          </a:xfrm>
        </p:spPr>
        <p:txBody>
          <a:bodyPr/>
          <a:lstStyle/>
          <a:p>
            <a:pPr marL="0" indent="0">
              <a:buNone/>
            </a:pPr>
            <a:r>
              <a:rPr lang="nb-NO" sz="2000" b="1" dirty="0"/>
              <a:t>Ideer. </a:t>
            </a:r>
            <a:r>
              <a:rPr lang="nb-NO" sz="2000" dirty="0"/>
              <a:t>Utvikle en hypotese som fører til validert læring. Definer </a:t>
            </a:r>
            <a:r>
              <a:rPr lang="nb-NO" sz="2000" i="1" dirty="0"/>
              <a:t>Minimum </a:t>
            </a:r>
            <a:r>
              <a:rPr lang="nb-NO" sz="2000" i="1" dirty="0" err="1"/>
              <a:t>Viable</a:t>
            </a:r>
            <a:r>
              <a:rPr lang="nb-NO" sz="2000" i="1" dirty="0"/>
              <a:t> Product (MVP)</a:t>
            </a:r>
            <a:r>
              <a:rPr lang="nb-NO" sz="2000" dirty="0"/>
              <a:t> som tester hypotesen din.</a:t>
            </a:r>
            <a:endParaRPr lang="nb-NO" sz="2000" i="1" dirty="0"/>
          </a:p>
          <a:p>
            <a:pPr marL="0" indent="0">
              <a:buNone/>
            </a:pPr>
            <a:endParaRPr lang="nb-NO" sz="2000" i="1" dirty="0"/>
          </a:p>
        </p:txBody>
      </p:sp>
      <p:sp>
        <p:nvSpPr>
          <p:cNvPr id="10" name="Undertittel 9">
            <a:extLst>
              <a:ext uri="{FF2B5EF4-FFF2-40B4-BE49-F238E27FC236}">
                <a16:creationId xmlns:a16="http://schemas.microsoft.com/office/drawing/2014/main" id="{70826858-3B6F-DB8F-5048-936D843CB749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nb-NO" dirty="0"/>
              <a:t>Møt </a:t>
            </a:r>
            <a:r>
              <a:rPr lang="nb-NO" dirty="0" err="1"/>
              <a:t>Eglev</a:t>
            </a:r>
            <a:r>
              <a:rPr lang="nb-NO" dirty="0"/>
              <a:t> – vår LLM analytiker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80CEBC8-A2CD-E8FA-3D64-05E0FDA71A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dirty="0"/>
              <a:t>Gjensidige Forsikring Group</a:t>
            </a:r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D36569B-DAAA-8506-705B-165E0E45A4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nb-NO" smtClean="0"/>
              <a:t>18</a:t>
            </a:fld>
            <a:endParaRPr lang="nb-NO" dirty="0"/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D034B001-55B4-1D67-0A74-53C4EA95B898}"/>
              </a:ext>
            </a:extLst>
          </p:cNvPr>
          <p:cNvGraphicFramePr/>
          <p:nvPr/>
        </p:nvGraphicFramePr>
        <p:xfrm>
          <a:off x="5542200" y="1279757"/>
          <a:ext cx="6870548" cy="42315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2" name="Ellipse 11">
            <a:extLst>
              <a:ext uri="{FF2B5EF4-FFF2-40B4-BE49-F238E27FC236}">
                <a16:creationId xmlns:a16="http://schemas.microsoft.com/office/drawing/2014/main" id="{BE771F30-D291-993A-61B3-65381BC1E9B7}"/>
              </a:ext>
            </a:extLst>
          </p:cNvPr>
          <p:cNvSpPr/>
          <p:nvPr/>
        </p:nvSpPr>
        <p:spPr>
          <a:xfrm>
            <a:off x="6279316" y="1951200"/>
            <a:ext cx="1507957" cy="1507957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0" tIns="270000" rIns="270000" bIns="270000" rtlCol="0" anchor="ctr"/>
          <a:lstStyle/>
          <a:p>
            <a:pPr algn="ctr"/>
            <a:r>
              <a:rPr lang="nb-NO" sz="1600" noProof="0" dirty="0" err="1">
                <a:solidFill>
                  <a:schemeClr val="tx1"/>
                </a:solidFill>
              </a:rPr>
              <a:t>Ideas</a:t>
            </a:r>
            <a:endParaRPr lang="nb-NO" sz="1600" noProof="0" dirty="0">
              <a:solidFill>
                <a:schemeClr val="tx1"/>
              </a:solidFill>
            </a:endParaRPr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3ED76C51-E807-EFC6-DE45-BCB3C20C941C}"/>
              </a:ext>
            </a:extLst>
          </p:cNvPr>
          <p:cNvSpPr/>
          <p:nvPr/>
        </p:nvSpPr>
        <p:spPr>
          <a:xfrm>
            <a:off x="10110821" y="1951200"/>
            <a:ext cx="1507957" cy="1507957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0" tIns="270000" rIns="270000" bIns="270000" rtlCol="0" anchor="ctr"/>
          <a:lstStyle/>
          <a:p>
            <a:pPr algn="ctr"/>
            <a:r>
              <a:rPr lang="nb-NO" sz="1600" noProof="0" dirty="0">
                <a:solidFill>
                  <a:schemeClr val="tx1"/>
                </a:solidFill>
              </a:rPr>
              <a:t>Code</a:t>
            </a:r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CFDA2DD9-90BB-7105-460D-2C982BB87244}"/>
              </a:ext>
            </a:extLst>
          </p:cNvPr>
          <p:cNvSpPr/>
          <p:nvPr/>
        </p:nvSpPr>
        <p:spPr>
          <a:xfrm>
            <a:off x="8215200" y="5155769"/>
            <a:ext cx="1507957" cy="1507957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0" tIns="270000" rIns="270000" bIns="270000" rtlCol="0" anchor="ctr"/>
          <a:lstStyle/>
          <a:p>
            <a:pPr algn="ctr"/>
            <a:r>
              <a:rPr lang="nb-NO" sz="1600" noProof="0" dirty="0">
                <a:solidFill>
                  <a:schemeClr val="tx1"/>
                </a:solidFill>
              </a:rPr>
              <a:t>Data</a:t>
            </a:r>
          </a:p>
        </p:txBody>
      </p:sp>
      <p:sp>
        <p:nvSpPr>
          <p:cNvPr id="15" name="Plassholder for innhold 8">
            <a:extLst>
              <a:ext uri="{FF2B5EF4-FFF2-40B4-BE49-F238E27FC236}">
                <a16:creationId xmlns:a16="http://schemas.microsoft.com/office/drawing/2014/main" id="{7A4C7EFE-B7B6-7DB1-671E-B20BC34EB306}"/>
              </a:ext>
            </a:extLst>
          </p:cNvPr>
          <p:cNvSpPr txBox="1">
            <a:spLocks/>
          </p:cNvSpPr>
          <p:nvPr/>
        </p:nvSpPr>
        <p:spPr>
          <a:xfrm>
            <a:off x="450000" y="3513916"/>
            <a:ext cx="5132653" cy="7438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rgbClr val="090C33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rgbClr val="090C33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rgbClr val="090C33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kern="1200">
                <a:solidFill>
                  <a:srgbClr val="090C33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rgbClr val="090C33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rgbClr val="090C3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rgbClr val="090C33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rgbClr val="090C33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baseline="0">
                <a:solidFill>
                  <a:srgbClr val="090C33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nb-NO" sz="2000" b="1" dirty="0"/>
              <a:t>Kode. </a:t>
            </a:r>
            <a:r>
              <a:rPr lang="nb-NO" sz="2000" dirty="0"/>
              <a:t>Implementer og </a:t>
            </a:r>
            <a:r>
              <a:rPr lang="nb-NO" sz="2000" dirty="0" err="1"/>
              <a:t>deploy</a:t>
            </a:r>
            <a:r>
              <a:rPr lang="nb-NO" sz="2000" dirty="0"/>
              <a:t> den enkleste mulige realiseringen av din MVP.</a:t>
            </a:r>
            <a:endParaRPr lang="nb-NO" sz="2000" i="1" dirty="0"/>
          </a:p>
          <a:p>
            <a:pPr marL="0" indent="0">
              <a:buFont typeface="Arial" panose="020B0604020202020204" pitchFamily="34" charset="0"/>
              <a:buNone/>
            </a:pPr>
            <a:endParaRPr lang="nb-NO" sz="2000" i="1" dirty="0"/>
          </a:p>
        </p:txBody>
      </p:sp>
      <p:sp>
        <p:nvSpPr>
          <p:cNvPr id="16" name="Plassholder for innhold 8">
            <a:extLst>
              <a:ext uri="{FF2B5EF4-FFF2-40B4-BE49-F238E27FC236}">
                <a16:creationId xmlns:a16="http://schemas.microsoft.com/office/drawing/2014/main" id="{52349E11-D522-FAD6-70CD-DE50E8E3B6B2}"/>
              </a:ext>
            </a:extLst>
          </p:cNvPr>
          <p:cNvSpPr txBox="1">
            <a:spLocks/>
          </p:cNvSpPr>
          <p:nvPr/>
        </p:nvSpPr>
        <p:spPr>
          <a:xfrm>
            <a:off x="449999" y="4611570"/>
            <a:ext cx="5132653" cy="8997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rgbClr val="090C33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rgbClr val="090C33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rgbClr val="090C33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kern="1200">
                <a:solidFill>
                  <a:srgbClr val="090C33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rgbClr val="090C33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rgbClr val="090C3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rgbClr val="090C33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rgbClr val="090C33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baseline="0">
                <a:solidFill>
                  <a:srgbClr val="090C33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nb-NO" sz="2000" b="1" dirty="0"/>
              <a:t>Data. </a:t>
            </a:r>
            <a:r>
              <a:rPr lang="nb-NO" sz="2000" dirty="0"/>
              <a:t>Samle brukeropplevelse og tilbakemeldinger så snart som mulig. Rekrutter </a:t>
            </a:r>
            <a:r>
              <a:rPr lang="nb-NO" sz="2000" i="1" dirty="0" err="1"/>
              <a:t>early</a:t>
            </a:r>
            <a:r>
              <a:rPr lang="nb-NO" sz="2000" i="1" dirty="0"/>
              <a:t> </a:t>
            </a:r>
            <a:r>
              <a:rPr lang="nb-NO" sz="2000" i="1" dirty="0" err="1"/>
              <a:t>adopters</a:t>
            </a:r>
            <a:r>
              <a:rPr lang="nb-NO" sz="2000" dirty="0"/>
              <a:t>.</a:t>
            </a:r>
            <a:endParaRPr lang="nb-NO" sz="2000" i="1" dirty="0"/>
          </a:p>
          <a:p>
            <a:pPr marL="0" indent="0">
              <a:buFont typeface="Arial" panose="020B0604020202020204" pitchFamily="34" charset="0"/>
              <a:buNone/>
            </a:pPr>
            <a:endParaRPr lang="nb-NO" sz="2000" i="1" dirty="0"/>
          </a:p>
        </p:txBody>
      </p:sp>
      <p:sp>
        <p:nvSpPr>
          <p:cNvPr id="17" name="Plassholder for innhold 8">
            <a:extLst>
              <a:ext uri="{FF2B5EF4-FFF2-40B4-BE49-F238E27FC236}">
                <a16:creationId xmlns:a16="http://schemas.microsoft.com/office/drawing/2014/main" id="{428C2908-E8BD-C5A2-5840-1DBE235E650E}"/>
              </a:ext>
            </a:extLst>
          </p:cNvPr>
          <p:cNvSpPr txBox="1">
            <a:spLocks/>
          </p:cNvSpPr>
          <p:nvPr/>
        </p:nvSpPr>
        <p:spPr>
          <a:xfrm>
            <a:off x="449998" y="5865070"/>
            <a:ext cx="5132653" cy="3928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rgbClr val="090C33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rgbClr val="090C33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rgbClr val="090C33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kern="1200">
                <a:solidFill>
                  <a:srgbClr val="090C33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600" kern="1200">
                <a:solidFill>
                  <a:srgbClr val="090C33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rgbClr val="090C3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b="1" kern="1200" baseline="0">
                <a:solidFill>
                  <a:srgbClr val="090C33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" kern="1200">
                <a:solidFill>
                  <a:srgbClr val="090C33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 kern="1200" baseline="0">
                <a:solidFill>
                  <a:srgbClr val="090C33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nb-NO" sz="2000" b="1" dirty="0"/>
              <a:t>Minimere tid gjennom løkken!</a:t>
            </a:r>
            <a:endParaRPr lang="nb-NO" sz="2000" i="1" dirty="0"/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42672430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/>
      <p:bldP spid="12" grpId="0" animBg="1"/>
      <p:bldP spid="13" grpId="0" animBg="1"/>
      <p:bldP spid="14" grpId="0" animBg="1"/>
      <p:bldP spid="15" grpId="0"/>
      <p:bldP spid="16" grpId="0"/>
      <p:bldP spid="17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lassholder for bilde 10">
            <a:extLst>
              <a:ext uri="{FF2B5EF4-FFF2-40B4-BE49-F238E27FC236}">
                <a16:creationId xmlns:a16="http://schemas.microsoft.com/office/drawing/2014/main" id="{3691A760-8405-F161-50DB-935777F16D6E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l="4637" r="4637"/>
          <a:stretch>
            <a:fillRect/>
          </a:stretch>
        </p:blipFill>
        <p:spPr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F56B363A-F03F-643E-9674-A5D2328F11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MVP for </a:t>
            </a:r>
            <a:r>
              <a:rPr lang="nb-NO" dirty="0" err="1"/>
              <a:t>Eglev</a:t>
            </a:r>
            <a:endParaRPr lang="nb-NO" dirty="0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21A008A5-88EC-6C28-A1A3-90A7DAC47CC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nb-NO" sz="1800" dirty="0"/>
              <a:t>Vise at Large Language Models (LLM) kan lage riktige SQL-spørringer basert på data i datavarehuset vårt</a:t>
            </a:r>
          </a:p>
          <a:p>
            <a:pPr lvl="1"/>
            <a:r>
              <a:rPr lang="nb-NO" sz="1800" dirty="0"/>
              <a:t>Begrenset tilgang til en liten del av datavarehuset</a:t>
            </a:r>
          </a:p>
          <a:p>
            <a:pPr lvl="1"/>
            <a:r>
              <a:rPr lang="nb-NO" sz="1800" dirty="0"/>
              <a:t>Enklest mulig teknisk brukergrensesnitt</a:t>
            </a:r>
          </a:p>
          <a:p>
            <a:pPr lvl="1"/>
            <a:r>
              <a:rPr lang="nb-NO" sz="1800" dirty="0"/>
              <a:t>Definere kompetansebehov gjennom verdistrømanalyse</a:t>
            </a:r>
          </a:p>
          <a:p>
            <a:pPr lvl="1"/>
            <a:r>
              <a:rPr lang="nb-NO" sz="1800" dirty="0"/>
              <a:t>Rekruttere testbrukere som er gira</a:t>
            </a:r>
          </a:p>
          <a:p>
            <a:pPr lvl="1"/>
            <a:r>
              <a:rPr lang="nb-NO" sz="1800" dirty="0"/>
              <a:t>Skalere tilgang til data gradvis og legge til nye funksjoner etter tilbakemeldinger</a:t>
            </a:r>
          </a:p>
        </p:txBody>
      </p:sp>
      <p:sp>
        <p:nvSpPr>
          <p:cNvPr id="8" name="Undertittel 7">
            <a:extLst>
              <a:ext uri="{FF2B5EF4-FFF2-40B4-BE49-F238E27FC236}">
                <a16:creationId xmlns:a16="http://schemas.microsoft.com/office/drawing/2014/main" id="{4BE649A1-5009-265E-7A17-F7102ABEA2BA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nb-NO" dirty="0"/>
              <a:t>Møt </a:t>
            </a:r>
            <a:r>
              <a:rPr lang="nb-NO" dirty="0" err="1"/>
              <a:t>Eglev</a:t>
            </a:r>
            <a:r>
              <a:rPr lang="nb-NO" dirty="0"/>
              <a:t> – vår LLM analytiker</a:t>
            </a:r>
          </a:p>
        </p:txBody>
      </p:sp>
      <p:sp>
        <p:nvSpPr>
          <p:cNvPr id="9" name="Plassholder for tekst 8">
            <a:extLst>
              <a:ext uri="{FF2B5EF4-FFF2-40B4-BE49-F238E27FC236}">
                <a16:creationId xmlns:a16="http://schemas.microsoft.com/office/drawing/2014/main" id="{825C12AC-EDA7-F983-2D11-EFBD218992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8EE12957-E878-7ED8-0F12-9A8A39456C0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2DA11A57-BE21-1D96-FFB8-2D5ADE081A2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23AA811B-2EBD-4900-905E-5BE206449611}" type="slidenum">
              <a:rPr lang="nb-NO" smtClean="0"/>
              <a:t>1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208036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jensidige_PPT_Intro_Slide_Mønster (17MB)">
            <a:hlinkClick r:id="" action="ppaction://media"/>
            <a:extLst>
              <a:ext uri="{FF2B5EF4-FFF2-40B4-BE49-F238E27FC236}">
                <a16:creationId xmlns:a16="http://schemas.microsoft.com/office/drawing/2014/main" id="{C7196323-FACE-1216-DF2F-C4241E59D9FE}"/>
              </a:ext>
            </a:extLst>
          </p:cNvPr>
          <p:cNvPicPr>
            <a:picLocks noGrp="1" noChangeAspect="1"/>
          </p:cNvPicPr>
          <p:nvPr>
            <p:ph type="media" sz="quarter" idx="18"/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8004BFB-856C-9952-3F70-9CC2BE49018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Gjensidige Forsikring Group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599DC57-B10D-3AD6-95BC-34200186C63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/>
              <a:pPr/>
              <a:t>2</a:t>
            </a:fld>
            <a:endParaRPr lang="en-GB"/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7593122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0032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E755596-2EF0-2123-C052-8906F44336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”Enjoy a joke while I’m thinking”</a:t>
            </a:r>
            <a:endParaRPr lang="en-US" noProof="0" dirty="0"/>
          </a:p>
        </p:txBody>
      </p:sp>
      <p:sp>
        <p:nvSpPr>
          <p:cNvPr id="11" name="Plassholder for bunntekst 10">
            <a:extLst>
              <a:ext uri="{FF2B5EF4-FFF2-40B4-BE49-F238E27FC236}">
                <a16:creationId xmlns:a16="http://schemas.microsoft.com/office/drawing/2014/main" id="{6E6A599B-21BF-C464-76BB-B505A1FA8C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12" name="Plassholder for lysbildenummer 11">
            <a:extLst>
              <a:ext uri="{FF2B5EF4-FFF2-40B4-BE49-F238E27FC236}">
                <a16:creationId xmlns:a16="http://schemas.microsoft.com/office/drawing/2014/main" id="{032A1BF8-2F7D-8884-CDB8-BCCBC72A29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nb-NO" smtClean="0"/>
              <a:t>20</a:t>
            </a:fld>
            <a:endParaRPr lang="nb-NO"/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D1E8EC05-B23C-F1B3-E213-EA3BE33E04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09800" y="1925470"/>
            <a:ext cx="7772400" cy="3775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178510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jensidige_Logo Animation_Yellow_Long">
            <a:hlinkClick r:id="" action="ppaction://media"/>
            <a:extLst>
              <a:ext uri="{FF2B5EF4-FFF2-40B4-BE49-F238E27FC236}">
                <a16:creationId xmlns:a16="http://schemas.microsoft.com/office/drawing/2014/main" id="{4DEA0134-0BC4-854F-6204-B5020D738A98}"/>
              </a:ext>
            </a:extLst>
          </p:cNvPr>
          <p:cNvPicPr>
            <a:picLocks noGrp="1" noChangeAspect="1"/>
          </p:cNvPicPr>
          <p:nvPr>
            <p:ph type="media" sz="quarter" idx="18"/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A4165E1-190E-A719-33B3-992E2F33496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Gjensidige Forsikring Group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1954EA-535B-4B77-DDFA-351B15B5321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/>
              <a:pPr/>
              <a:t>21</a:t>
            </a:fld>
            <a:endParaRPr lang="en-GB"/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2641793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03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89028D-8D5F-10E5-B457-0572BE74BC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noProof="0"/>
              <a:t>Takk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A52B924-886C-7AD4-C92D-61C20E4EFD5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23EA83-5B8D-BB91-5D9A-7583B87B0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BDB8B1-28E1-8BC8-533D-DD9B75907E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nb-NO" smtClean="0"/>
              <a:pPr/>
              <a:t>22</a:t>
            </a:fld>
            <a:endParaRPr lang="nb-NO"/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613514664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0042BF7-7B3C-4E8E-B120-5675C3EBE3A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D6B050-464A-46ED-A45D-9C418E5CCCC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nb-NO" smtClean="0"/>
              <a:pPr/>
              <a:t>23</a:t>
            </a:fld>
            <a:endParaRPr lang="nb-NO"/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30648830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0042BF7-7B3C-4E8E-B120-5675C3EBE3A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D6B050-464A-46ED-A45D-9C418E5CCCC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nb-NO" smtClean="0"/>
              <a:pPr/>
              <a:t>24</a:t>
            </a:fld>
            <a:endParaRPr lang="nb-NO"/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42764401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innhold 8">
            <a:extLst>
              <a:ext uri="{FF2B5EF4-FFF2-40B4-BE49-F238E27FC236}">
                <a16:creationId xmlns:a16="http://schemas.microsoft.com/office/drawing/2014/main" id="{3B9584EA-2A45-E998-2CF1-93641EB2DF9C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3239999" y="2826327"/>
            <a:ext cx="2422800" cy="3012498"/>
          </a:xfrm>
        </p:spPr>
        <p:txBody>
          <a:bodyPr/>
          <a:lstStyle/>
          <a:p>
            <a:r>
              <a:rPr lang="nb-NO" dirty="0" err="1"/>
              <a:t>MSc</a:t>
            </a:r>
            <a:r>
              <a:rPr lang="nb-NO" dirty="0"/>
              <a:t> Bioinformatikk (Universitet i Jena, Tyskland)</a:t>
            </a:r>
          </a:p>
          <a:p>
            <a:r>
              <a:rPr lang="nb-NO" dirty="0" err="1"/>
              <a:t>PhD</a:t>
            </a:r>
            <a:r>
              <a:rPr lang="nb-NO" dirty="0"/>
              <a:t> Anvendt Matematikk innen medisin (Universitet i Southampton, UK)</a:t>
            </a:r>
          </a:p>
          <a:p>
            <a:r>
              <a:rPr lang="nb-NO" dirty="0"/>
              <a:t>Forsket på blodtransport til hjernen og hjertet</a:t>
            </a:r>
          </a:p>
        </p:txBody>
      </p:sp>
      <p:sp>
        <p:nvSpPr>
          <p:cNvPr id="10" name="Plassholder for tekst 9">
            <a:extLst>
              <a:ext uri="{FF2B5EF4-FFF2-40B4-BE49-F238E27FC236}">
                <a16:creationId xmlns:a16="http://schemas.microsoft.com/office/drawing/2014/main" id="{082049BD-7F16-121E-E5C9-DE9320A79DF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64613" y="2314564"/>
            <a:ext cx="2422800" cy="277200"/>
          </a:xfrm>
        </p:spPr>
        <p:txBody>
          <a:bodyPr/>
          <a:lstStyle/>
          <a:p>
            <a:r>
              <a:rPr lang="nb-NO" dirty="0"/>
              <a:t>Bakgrunn 🎓</a:t>
            </a:r>
          </a:p>
        </p:txBody>
      </p:sp>
      <p:sp>
        <p:nvSpPr>
          <p:cNvPr id="11" name="Plassholder for innhold 10">
            <a:extLst>
              <a:ext uri="{FF2B5EF4-FFF2-40B4-BE49-F238E27FC236}">
                <a16:creationId xmlns:a16="http://schemas.microsoft.com/office/drawing/2014/main" id="{674687F1-7D46-A81F-E1AA-A72B97CBDF9D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6029999" y="2826327"/>
            <a:ext cx="2422800" cy="3012498"/>
          </a:xfrm>
        </p:spPr>
        <p:txBody>
          <a:bodyPr/>
          <a:lstStyle/>
          <a:p>
            <a:r>
              <a:rPr lang="nb-NO" dirty="0"/>
              <a:t>4 år som </a:t>
            </a:r>
            <a:r>
              <a:rPr lang="nb-NO" dirty="0" err="1"/>
              <a:t>postdoc</a:t>
            </a:r>
            <a:r>
              <a:rPr lang="nb-NO" dirty="0"/>
              <a:t> hos Universitet i Southampton og Simula Research Laboratory i Oslo</a:t>
            </a:r>
          </a:p>
          <a:p>
            <a:r>
              <a:rPr lang="nb-NO" dirty="0"/>
              <a:t>2 år som konsulent innen både software utvikling og data science</a:t>
            </a:r>
          </a:p>
          <a:p>
            <a:r>
              <a:rPr lang="nb-NO" dirty="0"/>
              <a:t>Leder for </a:t>
            </a:r>
            <a:r>
              <a:rPr lang="nb-NO" dirty="0" err="1"/>
              <a:t>Cloud</a:t>
            </a:r>
            <a:r>
              <a:rPr lang="nb-NO" dirty="0"/>
              <a:t> Analytics &amp; </a:t>
            </a:r>
            <a:r>
              <a:rPr lang="nb-NO" dirty="0" err="1"/>
              <a:t>MLOps</a:t>
            </a:r>
            <a:r>
              <a:rPr lang="nb-NO" dirty="0"/>
              <a:t> hos Gjensidige</a:t>
            </a:r>
          </a:p>
        </p:txBody>
      </p:sp>
      <p:sp>
        <p:nvSpPr>
          <p:cNvPr id="12" name="Plassholder for tekst 11">
            <a:extLst>
              <a:ext uri="{FF2B5EF4-FFF2-40B4-BE49-F238E27FC236}">
                <a16:creationId xmlns:a16="http://schemas.microsoft.com/office/drawing/2014/main" id="{063EFC21-B6C3-AB6C-DB32-D3EC5F8AD26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29999" y="2338152"/>
            <a:ext cx="2422800" cy="277200"/>
          </a:xfrm>
        </p:spPr>
        <p:txBody>
          <a:bodyPr/>
          <a:lstStyle/>
          <a:p>
            <a:r>
              <a:rPr lang="nb-NO" dirty="0"/>
              <a:t>Karriere 💼</a:t>
            </a:r>
          </a:p>
        </p:txBody>
      </p:sp>
      <p:sp>
        <p:nvSpPr>
          <p:cNvPr id="13" name="Plassholder for innhold 12">
            <a:extLst>
              <a:ext uri="{FF2B5EF4-FFF2-40B4-BE49-F238E27FC236}">
                <a16:creationId xmlns:a16="http://schemas.microsoft.com/office/drawing/2014/main" id="{E923CE27-CE17-61B2-1744-43DAC3637C6A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820000" y="2826327"/>
            <a:ext cx="2422800" cy="3012498"/>
          </a:xfrm>
        </p:spPr>
        <p:txBody>
          <a:bodyPr/>
          <a:lstStyle/>
          <a:p>
            <a:r>
              <a:rPr lang="nb-NO" dirty="0"/>
              <a:t>Kaffe: Sort, men </a:t>
            </a:r>
            <a:r>
              <a:rPr lang="nb-NO" dirty="0" err="1"/>
              <a:t>capuccino</a:t>
            </a:r>
            <a:r>
              <a:rPr lang="nb-NO" dirty="0"/>
              <a:t> etter lunsj</a:t>
            </a:r>
          </a:p>
          <a:p>
            <a:r>
              <a:rPr lang="nb-NO" dirty="0"/>
              <a:t>35 år, født og oppvokst i Tyskland, bodd i Australia, UK, Sør Afrika, USA, men trives best i Norge</a:t>
            </a:r>
          </a:p>
          <a:p>
            <a:r>
              <a:rPr lang="nb-NO" dirty="0"/>
              <a:t>2 katter </a:t>
            </a:r>
          </a:p>
          <a:p>
            <a:r>
              <a:rPr lang="nb-NO" dirty="0"/>
              <a:t>Bruker mesteparten av tiden på to hjul eller ski</a:t>
            </a:r>
          </a:p>
        </p:txBody>
      </p:sp>
      <p:sp>
        <p:nvSpPr>
          <p:cNvPr id="14" name="Plassholder for tekst 13">
            <a:extLst>
              <a:ext uri="{FF2B5EF4-FFF2-40B4-BE49-F238E27FC236}">
                <a16:creationId xmlns:a16="http://schemas.microsoft.com/office/drawing/2014/main" id="{4CDB2FB0-B412-D90D-9632-579CB51F81F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809200" y="2338152"/>
            <a:ext cx="2422800" cy="277200"/>
          </a:xfrm>
        </p:spPr>
        <p:txBody>
          <a:bodyPr/>
          <a:lstStyle/>
          <a:p>
            <a:r>
              <a:rPr lang="nb-NO" dirty="0"/>
              <a:t>Personlig 🙋‍♀️</a:t>
            </a:r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617E59FC-577B-C673-E7AE-487B6B930AC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EC0CA584-DB14-8163-121F-5C6D237780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065FB3F2-705E-DE92-8CFA-71FF799EA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nb-NO" smtClean="0"/>
              <a:pPr/>
              <a:t>3</a:t>
            </a:fld>
            <a:endParaRPr lang="nb-NO"/>
          </a:p>
        </p:txBody>
      </p:sp>
      <p:pic>
        <p:nvPicPr>
          <p:cNvPr id="15" name="Plassholder for bilde 13" descr="Et bilde som inneholder Menneskeansikt, person, smil, klær&#10;&#10;Automatisk generert beskrivelse">
            <a:extLst>
              <a:ext uri="{FF2B5EF4-FFF2-40B4-BE49-F238E27FC236}">
                <a16:creationId xmlns:a16="http://schemas.microsoft.com/office/drawing/2014/main" id="{D9BF03C2-ABA3-B783-F63B-71EC792C7B0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0" t="8804" r="13420" b="24214"/>
          <a:stretch/>
        </p:blipFill>
        <p:spPr>
          <a:xfrm>
            <a:off x="-296675" y="-89181"/>
            <a:ext cx="3218703" cy="3206454"/>
          </a:xfrm>
          <a:prstGeom prst="ellipse">
            <a:avLst/>
          </a:prstGeom>
        </p:spPr>
      </p:pic>
      <p:sp>
        <p:nvSpPr>
          <p:cNvPr id="22" name="Tittel 42">
            <a:extLst>
              <a:ext uri="{FF2B5EF4-FFF2-40B4-BE49-F238E27FC236}">
                <a16:creationId xmlns:a16="http://schemas.microsoft.com/office/drawing/2014/main" id="{92E10698-2EA7-A2E7-82B2-2AE23F790BAF}"/>
              </a:ext>
            </a:extLst>
          </p:cNvPr>
          <p:cNvSpPr txBox="1">
            <a:spLocks/>
          </p:cNvSpPr>
          <p:nvPr/>
        </p:nvSpPr>
        <p:spPr>
          <a:xfrm>
            <a:off x="3239998" y="622800"/>
            <a:ext cx="7394401" cy="982800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101000"/>
              </a:lnSpc>
              <a:spcBef>
                <a:spcPct val="0"/>
              </a:spcBef>
              <a:buNone/>
              <a:defRPr sz="3200" b="0" kern="1200">
                <a:solidFill>
                  <a:srgbClr val="090C33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dirty="0"/>
              <a:t>Hei, jeg er Alex!</a:t>
            </a:r>
          </a:p>
        </p:txBody>
      </p:sp>
    </p:spTree>
    <p:extLst>
      <p:ext uri="{BB962C8B-B14F-4D97-AF65-F5344CB8AC3E}">
        <p14:creationId xmlns:p14="http://schemas.microsoft.com/office/powerpoint/2010/main" val="21481225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9" name="Object 78" hidden="1">
            <a:extLst>
              <a:ext uri="{FF2B5EF4-FFF2-40B4-BE49-F238E27FC236}">
                <a16:creationId xmlns:a16="http://schemas.microsoft.com/office/drawing/2014/main" id="{5CE405DD-863D-A309-991F-34D174C0AC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79" name="Object 78" hidden="1">
                        <a:extLst>
                          <a:ext uri="{FF2B5EF4-FFF2-40B4-BE49-F238E27FC236}">
                            <a16:creationId xmlns:a16="http://schemas.microsoft.com/office/drawing/2014/main" id="{5CE405DD-863D-A309-991F-34D174C0AC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uppe 3">
            <a:extLst>
              <a:ext uri="{FF2B5EF4-FFF2-40B4-BE49-F238E27FC236}">
                <a16:creationId xmlns:a16="http://schemas.microsoft.com/office/drawing/2014/main" id="{75FEB051-C6AF-5D34-76B7-0B73997E08FE}"/>
              </a:ext>
            </a:extLst>
          </p:cNvPr>
          <p:cNvGrpSpPr/>
          <p:nvPr/>
        </p:nvGrpSpPr>
        <p:grpSpPr>
          <a:xfrm>
            <a:off x="509368" y="3133619"/>
            <a:ext cx="2415663" cy="1506681"/>
            <a:chOff x="509368" y="3133619"/>
            <a:chExt cx="2415663" cy="1506681"/>
          </a:xfrm>
        </p:grpSpPr>
        <p:sp>
          <p:nvSpPr>
            <p:cNvPr id="61" name="Arrow: Pentagon 60">
              <a:extLst>
                <a:ext uri="{FF2B5EF4-FFF2-40B4-BE49-F238E27FC236}">
                  <a16:creationId xmlns:a16="http://schemas.microsoft.com/office/drawing/2014/main" id="{BDCB9281-7B07-0B42-171A-14BF1F04DBD2}"/>
                </a:ext>
              </a:extLst>
            </p:cNvPr>
            <p:cNvSpPr/>
            <p:nvPr/>
          </p:nvSpPr>
          <p:spPr>
            <a:xfrm>
              <a:off x="739042" y="3133619"/>
              <a:ext cx="2185989" cy="1506681"/>
            </a:xfrm>
            <a:prstGeom prst="homePlate">
              <a:avLst>
                <a:gd name="adj" fmla="val 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17227" tIns="21336" rIns="374554" bIns="21336" numCol="1" spcCol="1270" anchor="ctr" anchorCtr="0">
              <a:noAutofit/>
            </a:bodyPr>
            <a:lstStyle/>
            <a:p>
              <a:pPr marL="0" lvl="0" indent="0" algn="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nb-NO" b="1" dirty="0">
                  <a:solidFill>
                    <a:schemeClr val="tx1"/>
                  </a:solidFill>
                </a:rPr>
                <a:t>Lage</a:t>
              </a:r>
              <a:br>
                <a:rPr lang="nb-NO" b="1" kern="1200" dirty="0">
                  <a:solidFill>
                    <a:schemeClr val="tx1"/>
                  </a:solidFill>
                </a:rPr>
              </a:br>
              <a:r>
                <a:rPr lang="nb-NO" b="1" kern="1200" dirty="0">
                  <a:solidFill>
                    <a:schemeClr val="tx1"/>
                  </a:solidFill>
                </a:rPr>
                <a:t>&amp; </a:t>
              </a:r>
              <a:br>
                <a:rPr lang="nb-NO" b="1" kern="1200" dirty="0">
                  <a:solidFill>
                    <a:schemeClr val="tx1"/>
                  </a:solidFill>
                </a:rPr>
              </a:br>
              <a:r>
                <a:rPr lang="nb-NO" b="1" kern="1200" dirty="0">
                  <a:solidFill>
                    <a:schemeClr val="tx1"/>
                  </a:solidFill>
                </a:rPr>
                <a:t>prise</a:t>
              </a:r>
            </a:p>
            <a:p>
              <a:pPr marL="0" lvl="0" indent="0" algn="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nb-NO" kern="1200" dirty="0">
                  <a:solidFill>
                    <a:schemeClr val="tx1"/>
                  </a:solidFill>
                </a:rPr>
                <a:t>forsikring</a:t>
              </a:r>
            </a:p>
          </p:txBody>
        </p:sp>
        <p:pic>
          <p:nvPicPr>
            <p:cNvPr id="70" name="Picture 10" descr="Insurance price tag with barcode and grey radial gradient background. |  CanStock">
              <a:extLst>
                <a:ext uri="{FF2B5EF4-FFF2-40B4-BE49-F238E27FC236}">
                  <a16:creationId xmlns:a16="http://schemas.microsoft.com/office/drawing/2014/main" id="{54D3D0E8-7D2A-4BB7-4F6B-52F7095BFD9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clrChange>
                <a:clrFrom>
                  <a:srgbClr val="D6D6D6"/>
                </a:clrFrom>
                <a:clrTo>
                  <a:srgbClr val="D6D6D6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9971" t="25299" r="15167" b="23934"/>
            <a:stretch/>
          </p:blipFill>
          <p:spPr bwMode="auto">
            <a:xfrm rot="1129074">
              <a:off x="509368" y="3437876"/>
              <a:ext cx="1297062" cy="4850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" name="Gruppe 1">
            <a:extLst>
              <a:ext uri="{FF2B5EF4-FFF2-40B4-BE49-F238E27FC236}">
                <a16:creationId xmlns:a16="http://schemas.microsoft.com/office/drawing/2014/main" id="{DF74616B-4178-9384-6F4C-E60B8117F27A}"/>
              </a:ext>
            </a:extLst>
          </p:cNvPr>
          <p:cNvGrpSpPr/>
          <p:nvPr/>
        </p:nvGrpSpPr>
        <p:grpSpPr>
          <a:xfrm>
            <a:off x="2982818" y="3133619"/>
            <a:ext cx="8699814" cy="1506682"/>
            <a:chOff x="2982818" y="3133619"/>
            <a:chExt cx="8699814" cy="1506682"/>
          </a:xfrm>
        </p:grpSpPr>
        <p:sp>
          <p:nvSpPr>
            <p:cNvPr id="60" name="Arrow: Pentagon 59">
              <a:extLst>
                <a:ext uri="{FF2B5EF4-FFF2-40B4-BE49-F238E27FC236}">
                  <a16:creationId xmlns:a16="http://schemas.microsoft.com/office/drawing/2014/main" id="{2BEDF7B0-7288-57BF-E9C6-6C92B5270CFE}"/>
                </a:ext>
              </a:extLst>
            </p:cNvPr>
            <p:cNvSpPr/>
            <p:nvPr/>
          </p:nvSpPr>
          <p:spPr>
            <a:xfrm>
              <a:off x="2982818" y="3133619"/>
              <a:ext cx="8699814" cy="1506682"/>
            </a:xfrm>
            <a:prstGeom prst="homePlate">
              <a:avLst>
                <a:gd name="adj" fmla="val 26724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0" tIns="270000" rIns="270000" bIns="270000" rtlCol="0" anchor="ctr"/>
            <a:lstStyle/>
            <a:p>
              <a:pPr algn="ctr"/>
              <a:endParaRPr lang="nb-NO" sz="1600" noProof="0">
                <a:solidFill>
                  <a:schemeClr val="bg1"/>
                </a:solidFill>
              </a:endParaRP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25A6A25F-53F0-CAEA-38EE-5B32506D7DEB}"/>
                </a:ext>
              </a:extLst>
            </p:cNvPr>
            <p:cNvSpPr txBox="1"/>
            <p:nvPr/>
          </p:nvSpPr>
          <p:spPr>
            <a:xfrm>
              <a:off x="4389741" y="3659471"/>
              <a:ext cx="1214070" cy="59785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nb-NO" b="1" kern="1200" dirty="0">
                  <a:solidFill>
                    <a:schemeClr val="bg1"/>
                  </a:solidFill>
                </a:rPr>
                <a:t>Kjøpe</a:t>
              </a:r>
              <a:br>
                <a:rPr lang="nb-NO" kern="1200" dirty="0">
                  <a:solidFill>
                    <a:schemeClr val="bg1"/>
                  </a:solidFill>
                </a:rPr>
              </a:br>
              <a:r>
                <a:rPr lang="nb-NO" kern="1200" dirty="0">
                  <a:solidFill>
                    <a:schemeClr val="bg1"/>
                  </a:solidFill>
                </a:rPr>
                <a:t>forsikring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9175F7AF-3E42-ADD4-55C7-B21832A326E2}"/>
                </a:ext>
              </a:extLst>
            </p:cNvPr>
            <p:cNvSpPr txBox="1"/>
            <p:nvPr/>
          </p:nvSpPr>
          <p:spPr>
            <a:xfrm>
              <a:off x="9909486" y="3659471"/>
              <a:ext cx="1214070" cy="59785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nb-NO" b="1" dirty="0">
                  <a:solidFill>
                    <a:schemeClr val="bg1"/>
                  </a:solidFill>
                </a:rPr>
                <a:t>Bruke</a:t>
              </a:r>
              <a:br>
                <a:rPr lang="nb-NO" kern="1200" dirty="0">
                  <a:solidFill>
                    <a:schemeClr val="bg1"/>
                  </a:solidFill>
                </a:rPr>
              </a:br>
              <a:r>
                <a:rPr lang="nb-NO" kern="1200" dirty="0">
                  <a:solidFill>
                    <a:schemeClr val="bg1"/>
                  </a:solidFill>
                </a:rPr>
                <a:t>forsikring</a:t>
              </a:r>
            </a:p>
          </p:txBody>
        </p:sp>
        <p:sp>
          <p:nvSpPr>
            <p:cNvPr id="64" name="Isosceles Triangle 63">
              <a:extLst>
                <a:ext uri="{FF2B5EF4-FFF2-40B4-BE49-F238E27FC236}">
                  <a16:creationId xmlns:a16="http://schemas.microsoft.com/office/drawing/2014/main" id="{8212E903-6C03-0843-78F8-791A75C2B7F9}"/>
                </a:ext>
              </a:extLst>
            </p:cNvPr>
            <p:cNvSpPr/>
            <p:nvPr/>
          </p:nvSpPr>
          <p:spPr>
            <a:xfrm rot="5400000">
              <a:off x="5604230" y="3817654"/>
              <a:ext cx="494826" cy="149512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0" tIns="270000" rIns="270000" bIns="270000" rtlCol="0" anchor="ctr"/>
            <a:lstStyle/>
            <a:p>
              <a:pPr algn="ctr"/>
              <a:endParaRPr lang="nb-NO" sz="1600" noProof="0">
                <a:solidFill>
                  <a:schemeClr val="bg1"/>
                </a:solidFill>
              </a:endParaRPr>
            </a:p>
          </p:txBody>
        </p:sp>
        <p:sp>
          <p:nvSpPr>
            <p:cNvPr id="65" name="Isosceles Triangle 64">
              <a:extLst>
                <a:ext uri="{FF2B5EF4-FFF2-40B4-BE49-F238E27FC236}">
                  <a16:creationId xmlns:a16="http://schemas.microsoft.com/office/drawing/2014/main" id="{44698CB7-F6AC-B300-4E59-E3A4BEBDE64A}"/>
                </a:ext>
              </a:extLst>
            </p:cNvPr>
            <p:cNvSpPr/>
            <p:nvPr/>
          </p:nvSpPr>
          <p:spPr>
            <a:xfrm rot="5400000">
              <a:off x="8542698" y="3827179"/>
              <a:ext cx="494826" cy="149512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0" tIns="270000" rIns="270000" bIns="270000" rtlCol="0" anchor="ctr"/>
            <a:lstStyle/>
            <a:p>
              <a:pPr algn="ctr"/>
              <a:endParaRPr lang="nb-NO" sz="1600" noProof="0">
                <a:solidFill>
                  <a:schemeClr val="bg1"/>
                </a:solidFill>
              </a:endParaRPr>
            </a:p>
          </p:txBody>
        </p: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FA03F202-C8CD-3140-67F5-E32CCAAD9CFC}"/>
                </a:ext>
              </a:extLst>
            </p:cNvPr>
            <p:cNvGrpSpPr/>
            <p:nvPr/>
          </p:nvGrpSpPr>
          <p:grpSpPr>
            <a:xfrm>
              <a:off x="8912177" y="3537159"/>
              <a:ext cx="1287525" cy="866286"/>
              <a:chOff x="8151646" y="3188044"/>
              <a:chExt cx="1287525" cy="866286"/>
            </a:xfrm>
          </p:grpSpPr>
          <p:pic>
            <p:nvPicPr>
              <p:cNvPr id="76" name="Picture 75" descr="Bandage">
                <a:extLst>
                  <a:ext uri="{FF2B5EF4-FFF2-40B4-BE49-F238E27FC236}">
                    <a16:creationId xmlns:a16="http://schemas.microsoft.com/office/drawing/2014/main" id="{E4C1B089-A5DC-D1C2-86D6-709CA4E20DB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19971953">
                <a:off x="8151646" y="3188044"/>
                <a:ext cx="1263715" cy="842477"/>
              </a:xfrm>
              <a:prstGeom prst="rect">
                <a:avLst/>
              </a:prstGeom>
            </p:spPr>
          </p:pic>
          <p:pic>
            <p:nvPicPr>
              <p:cNvPr id="77" name="Picture 76" descr="Bandage">
                <a:extLst>
                  <a:ext uri="{FF2B5EF4-FFF2-40B4-BE49-F238E27FC236}">
                    <a16:creationId xmlns:a16="http://schemas.microsoft.com/office/drawing/2014/main" id="{84C79EC8-8DB6-0493-9A6A-6131A86723B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1632937">
                <a:off x="8175456" y="3211853"/>
                <a:ext cx="1263715" cy="842477"/>
              </a:xfrm>
              <a:prstGeom prst="rect">
                <a:avLst/>
              </a:prstGeom>
            </p:spPr>
          </p:pic>
        </p:grp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F78CE0D7-3122-A455-131A-EA59936048A7}"/>
                </a:ext>
              </a:extLst>
            </p:cNvPr>
            <p:cNvSpPr txBox="1"/>
            <p:nvPr/>
          </p:nvSpPr>
          <p:spPr>
            <a:xfrm>
              <a:off x="7371074" y="3659471"/>
              <a:ext cx="1214070" cy="59785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nb-NO" b="1" kern="1200" dirty="0">
                  <a:solidFill>
                    <a:schemeClr val="bg1"/>
                  </a:solidFill>
                </a:rPr>
                <a:t>Ha</a:t>
              </a:r>
              <a:br>
                <a:rPr lang="nb-NO" kern="1200" dirty="0">
                  <a:solidFill>
                    <a:schemeClr val="bg1"/>
                  </a:solidFill>
                </a:rPr>
              </a:br>
              <a:r>
                <a:rPr lang="nb-NO" kern="1200" dirty="0">
                  <a:solidFill>
                    <a:schemeClr val="bg1"/>
                  </a:solidFill>
                </a:rPr>
                <a:t>forsikring</a:t>
              </a:r>
            </a:p>
          </p:txBody>
        </p: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227B0DC-76D0-14D7-FB33-34850BB4188E}"/>
                </a:ext>
              </a:extLst>
            </p:cNvPr>
            <p:cNvCxnSpPr>
              <a:cxnSpLocks/>
            </p:cNvCxnSpPr>
            <p:nvPr/>
          </p:nvCxnSpPr>
          <p:spPr>
            <a:xfrm>
              <a:off x="3699950" y="3317492"/>
              <a:ext cx="5433430" cy="0"/>
            </a:xfrm>
            <a:prstGeom prst="line">
              <a:avLst/>
            </a:prstGeom>
            <a:ln w="12700">
              <a:solidFill>
                <a:schemeClr val="tx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61F5F66F-2F99-20B7-A19B-4C6438C78D39}"/>
                </a:ext>
              </a:extLst>
            </p:cNvPr>
            <p:cNvGrpSpPr/>
            <p:nvPr/>
          </p:nvGrpSpPr>
          <p:grpSpPr>
            <a:xfrm>
              <a:off x="3144717" y="3185185"/>
              <a:ext cx="1395321" cy="1233472"/>
              <a:chOff x="2798523" y="3013832"/>
              <a:chExt cx="1395321" cy="1233472"/>
            </a:xfrm>
          </p:grpSpPr>
          <p:pic>
            <p:nvPicPr>
              <p:cNvPr id="74" name="Picture 73" descr="Shopping handbasket">
                <a:extLst>
                  <a:ext uri="{FF2B5EF4-FFF2-40B4-BE49-F238E27FC236}">
                    <a16:creationId xmlns:a16="http://schemas.microsoft.com/office/drawing/2014/main" id="{BF93E036-B1EB-7394-B96F-4D59FFD2072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prstClr val="black"/>
                  <a:schemeClr val="accent5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798523" y="3013832"/>
                <a:ext cx="1395321" cy="1233472"/>
              </a:xfrm>
              <a:prstGeom prst="rect">
                <a:avLst/>
              </a:prstGeom>
            </p:spPr>
          </p:pic>
          <p:pic>
            <p:nvPicPr>
              <p:cNvPr id="75" name="Logo">
                <a:extLst>
                  <a:ext uri="{FF2B5EF4-FFF2-40B4-BE49-F238E27FC236}">
                    <a16:creationId xmlns:a16="http://schemas.microsoft.com/office/drawing/2014/main" id="{78EB90E5-9B50-4E5A-4141-97EE54DC687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rcRect l="72425" t="-5750" b="1"/>
              <a:stretch/>
            </p:blipFill>
            <p:spPr>
              <a:xfrm>
                <a:off x="3338208" y="3699790"/>
                <a:ext cx="263948" cy="250703"/>
              </a:xfrm>
              <a:prstGeom prst="rect">
                <a:avLst/>
              </a:prstGeom>
            </p:spPr>
          </p:pic>
        </p:grp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3A7FA0C0-2CDD-01E7-26E3-686C0FF9EE19}"/>
                </a:ext>
              </a:extLst>
            </p:cNvPr>
            <p:cNvSpPr/>
            <p:nvPr/>
          </p:nvSpPr>
          <p:spPr>
            <a:xfrm>
              <a:off x="6266385" y="3587845"/>
              <a:ext cx="839223" cy="63473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0" tIns="270000" rIns="270000" bIns="270000" rtlCol="0" anchor="ctr"/>
            <a:lstStyle/>
            <a:p>
              <a:pPr algn="ctr"/>
              <a:endParaRPr lang="nb-NO" sz="1600" noProof="0">
                <a:solidFill>
                  <a:schemeClr val="bg1"/>
                </a:solidFill>
              </a:endParaRPr>
            </a:p>
          </p:txBody>
        </p:sp>
        <p:pic>
          <p:nvPicPr>
            <p:cNvPr id="72" name="Picture 71">
              <a:extLst>
                <a:ext uri="{FF2B5EF4-FFF2-40B4-BE49-F238E27FC236}">
                  <a16:creationId xmlns:a16="http://schemas.microsoft.com/office/drawing/2014/main" id="{49675F29-6F74-9188-8D27-B949A486A11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6173761" y="3584061"/>
              <a:ext cx="1021470" cy="632965"/>
            </a:xfrm>
            <a:prstGeom prst="rect">
              <a:avLst/>
            </a:prstGeom>
          </p:spPr>
        </p:pic>
        <p:pic>
          <p:nvPicPr>
            <p:cNvPr id="73" name="Picture 72">
              <a:extLst>
                <a:ext uri="{FF2B5EF4-FFF2-40B4-BE49-F238E27FC236}">
                  <a16:creationId xmlns:a16="http://schemas.microsoft.com/office/drawing/2014/main" id="{F21574C4-9136-6F91-CEF1-89C9A6C1152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>
              <a:clrChange>
                <a:clrFrom>
                  <a:srgbClr val="F7F7F7"/>
                </a:clrFrom>
                <a:clrTo>
                  <a:srgbClr val="F7F7F7">
                    <a:alpha val="0"/>
                  </a:srgbClr>
                </a:clrTo>
              </a:clrChange>
            </a:blip>
            <a:srcRect l="2329" t="8859" r="2572"/>
            <a:stretch/>
          </p:blipFill>
          <p:spPr>
            <a:xfrm>
              <a:off x="6003089" y="3496533"/>
              <a:ext cx="1374062" cy="929095"/>
            </a:xfrm>
            <a:prstGeom prst="rect">
              <a:avLst/>
            </a:prstGeom>
          </p:spPr>
        </p:pic>
      </p:grpSp>
      <p:sp>
        <p:nvSpPr>
          <p:cNvPr id="43" name="Tittel 42">
            <a:extLst>
              <a:ext uri="{FF2B5EF4-FFF2-40B4-BE49-F238E27FC236}">
                <a16:creationId xmlns:a16="http://schemas.microsoft.com/office/drawing/2014/main" id="{D71491CD-CC44-18EE-309B-EB55C4A701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dirty="0"/>
              <a:t>Data som </a:t>
            </a:r>
            <a:r>
              <a:rPr lang="nb-NO" dirty="0" err="1"/>
              <a:t>fundametalt</a:t>
            </a:r>
            <a:r>
              <a:rPr lang="nb-NO" dirty="0"/>
              <a:t> grunnlag i forsikring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0C3DA848-ABCD-D726-BD8E-1F6E7E4255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65600" y="6646360"/>
            <a:ext cx="277200" cy="309600"/>
          </a:xfrm>
        </p:spPr>
        <p:txBody>
          <a:bodyPr/>
          <a:lstStyle/>
          <a:p>
            <a:fld id="{23AA811B-2EBD-4900-905E-5BE206449611}" type="slidenum">
              <a:rPr lang="nb-NO" smtClean="0"/>
              <a:pPr/>
              <a:t>4</a:t>
            </a:fld>
            <a:endParaRPr lang="nb-NO"/>
          </a:p>
        </p:txBody>
      </p:sp>
      <p:sp>
        <p:nvSpPr>
          <p:cNvPr id="9" name="Undertittel 2">
            <a:extLst>
              <a:ext uri="{FF2B5EF4-FFF2-40B4-BE49-F238E27FC236}">
                <a16:creationId xmlns:a16="http://schemas.microsoft.com/office/drawing/2014/main" id="{3C0A54CA-9341-66E8-427D-904766E3B214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nb-NO" dirty="0"/>
              <a:t>Møt </a:t>
            </a:r>
            <a:r>
              <a:rPr lang="nb-NO" dirty="0" err="1"/>
              <a:t>Eglev</a:t>
            </a:r>
            <a:r>
              <a:rPr lang="nb-NO" dirty="0"/>
              <a:t> – vår LLM analytiker</a:t>
            </a:r>
          </a:p>
        </p:txBody>
      </p:sp>
    </p:spTree>
    <p:extLst>
      <p:ext uri="{BB962C8B-B14F-4D97-AF65-F5344CB8AC3E}">
        <p14:creationId xmlns:p14="http://schemas.microsoft.com/office/powerpoint/2010/main" val="40991460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9" name="Object 78" hidden="1">
            <a:extLst>
              <a:ext uri="{FF2B5EF4-FFF2-40B4-BE49-F238E27FC236}">
                <a16:creationId xmlns:a16="http://schemas.microsoft.com/office/drawing/2014/main" id="{5CE405DD-863D-A309-991F-34D174C0AC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79" name="Object 78" hidden="1">
                        <a:extLst>
                          <a:ext uri="{FF2B5EF4-FFF2-40B4-BE49-F238E27FC236}">
                            <a16:creationId xmlns:a16="http://schemas.microsoft.com/office/drawing/2014/main" id="{5CE405DD-863D-A309-991F-34D174C0AC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uppe 3">
            <a:extLst>
              <a:ext uri="{FF2B5EF4-FFF2-40B4-BE49-F238E27FC236}">
                <a16:creationId xmlns:a16="http://schemas.microsoft.com/office/drawing/2014/main" id="{75FEB051-C6AF-5D34-76B7-0B73997E08FE}"/>
              </a:ext>
            </a:extLst>
          </p:cNvPr>
          <p:cNvGrpSpPr/>
          <p:nvPr/>
        </p:nvGrpSpPr>
        <p:grpSpPr>
          <a:xfrm>
            <a:off x="509368" y="3133619"/>
            <a:ext cx="2415663" cy="1506681"/>
            <a:chOff x="509368" y="3133619"/>
            <a:chExt cx="2415663" cy="1506681"/>
          </a:xfrm>
        </p:grpSpPr>
        <p:sp>
          <p:nvSpPr>
            <p:cNvPr id="61" name="Arrow: Pentagon 60">
              <a:extLst>
                <a:ext uri="{FF2B5EF4-FFF2-40B4-BE49-F238E27FC236}">
                  <a16:creationId xmlns:a16="http://schemas.microsoft.com/office/drawing/2014/main" id="{BDCB9281-7B07-0B42-171A-14BF1F04DBD2}"/>
                </a:ext>
              </a:extLst>
            </p:cNvPr>
            <p:cNvSpPr/>
            <p:nvPr/>
          </p:nvSpPr>
          <p:spPr>
            <a:xfrm>
              <a:off x="739042" y="3133619"/>
              <a:ext cx="2185989" cy="1506681"/>
            </a:xfrm>
            <a:prstGeom prst="homePlate">
              <a:avLst>
                <a:gd name="adj" fmla="val 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17227" tIns="21336" rIns="374554" bIns="21336" numCol="1" spcCol="1270" anchor="ctr" anchorCtr="0">
              <a:noAutofit/>
            </a:bodyPr>
            <a:lstStyle/>
            <a:p>
              <a:pPr marL="0" lvl="0" indent="0" algn="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nb-NO" b="1" kern="1200" dirty="0">
                  <a:solidFill>
                    <a:schemeClr val="tx1"/>
                  </a:solidFill>
                </a:rPr>
                <a:t>Lage</a:t>
              </a:r>
              <a:br>
                <a:rPr lang="nb-NO" b="1" kern="1200" dirty="0">
                  <a:solidFill>
                    <a:schemeClr val="tx1"/>
                  </a:solidFill>
                </a:rPr>
              </a:br>
              <a:r>
                <a:rPr lang="nb-NO" b="1" kern="1200" dirty="0">
                  <a:solidFill>
                    <a:schemeClr val="tx1"/>
                  </a:solidFill>
                </a:rPr>
                <a:t>&amp; </a:t>
              </a:r>
              <a:br>
                <a:rPr lang="nb-NO" b="1" kern="1200" dirty="0">
                  <a:solidFill>
                    <a:schemeClr val="tx1"/>
                  </a:solidFill>
                </a:rPr>
              </a:br>
              <a:r>
                <a:rPr lang="nb-NO" b="1" kern="1200" dirty="0">
                  <a:solidFill>
                    <a:schemeClr val="tx1"/>
                  </a:solidFill>
                </a:rPr>
                <a:t>prise</a:t>
              </a:r>
            </a:p>
            <a:p>
              <a:pPr marL="0" lvl="0" indent="0" algn="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nb-NO" kern="1200" dirty="0">
                  <a:solidFill>
                    <a:schemeClr val="tx1"/>
                  </a:solidFill>
                </a:rPr>
                <a:t>forsikring</a:t>
              </a:r>
            </a:p>
          </p:txBody>
        </p:sp>
        <p:pic>
          <p:nvPicPr>
            <p:cNvPr id="70" name="Picture 10" descr="Insurance price tag with barcode and grey radial gradient background. |  CanStock">
              <a:extLst>
                <a:ext uri="{FF2B5EF4-FFF2-40B4-BE49-F238E27FC236}">
                  <a16:creationId xmlns:a16="http://schemas.microsoft.com/office/drawing/2014/main" id="{54D3D0E8-7D2A-4BB7-4F6B-52F7095BFD9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clrChange>
                <a:clrFrom>
                  <a:srgbClr val="D6D6D6"/>
                </a:clrFrom>
                <a:clrTo>
                  <a:srgbClr val="D6D6D6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9971" t="25299" r="15167" b="23934"/>
            <a:stretch/>
          </p:blipFill>
          <p:spPr bwMode="auto">
            <a:xfrm rot="1129074">
              <a:off x="509368" y="3437876"/>
              <a:ext cx="1297062" cy="4850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" name="Gruppe 1">
            <a:extLst>
              <a:ext uri="{FF2B5EF4-FFF2-40B4-BE49-F238E27FC236}">
                <a16:creationId xmlns:a16="http://schemas.microsoft.com/office/drawing/2014/main" id="{DF74616B-4178-9384-6F4C-E60B8117F27A}"/>
              </a:ext>
            </a:extLst>
          </p:cNvPr>
          <p:cNvGrpSpPr/>
          <p:nvPr/>
        </p:nvGrpSpPr>
        <p:grpSpPr>
          <a:xfrm>
            <a:off x="2982818" y="3133619"/>
            <a:ext cx="8699814" cy="1506682"/>
            <a:chOff x="2982818" y="3133619"/>
            <a:chExt cx="8699814" cy="1506682"/>
          </a:xfrm>
        </p:grpSpPr>
        <p:sp>
          <p:nvSpPr>
            <p:cNvPr id="60" name="Arrow: Pentagon 59">
              <a:extLst>
                <a:ext uri="{FF2B5EF4-FFF2-40B4-BE49-F238E27FC236}">
                  <a16:creationId xmlns:a16="http://schemas.microsoft.com/office/drawing/2014/main" id="{2BEDF7B0-7288-57BF-E9C6-6C92B5270CFE}"/>
                </a:ext>
              </a:extLst>
            </p:cNvPr>
            <p:cNvSpPr/>
            <p:nvPr/>
          </p:nvSpPr>
          <p:spPr>
            <a:xfrm>
              <a:off x="2982818" y="3133619"/>
              <a:ext cx="8699814" cy="1506682"/>
            </a:xfrm>
            <a:prstGeom prst="homePlate">
              <a:avLst>
                <a:gd name="adj" fmla="val 26724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0" tIns="270000" rIns="270000" bIns="270000" rtlCol="0" anchor="ctr"/>
            <a:lstStyle/>
            <a:p>
              <a:pPr algn="ctr"/>
              <a:endParaRPr lang="nb-NO" sz="1600" noProof="0">
                <a:solidFill>
                  <a:schemeClr val="bg1"/>
                </a:solidFill>
              </a:endParaRP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25A6A25F-53F0-CAEA-38EE-5B32506D7DEB}"/>
                </a:ext>
              </a:extLst>
            </p:cNvPr>
            <p:cNvSpPr txBox="1"/>
            <p:nvPr/>
          </p:nvSpPr>
          <p:spPr>
            <a:xfrm>
              <a:off x="4389741" y="3659471"/>
              <a:ext cx="1214070" cy="59785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nb-NO" b="1" kern="1200" dirty="0">
                  <a:solidFill>
                    <a:schemeClr val="bg1"/>
                  </a:solidFill>
                </a:rPr>
                <a:t>Kjøpe</a:t>
              </a:r>
              <a:br>
                <a:rPr lang="nb-NO" kern="1200" dirty="0">
                  <a:solidFill>
                    <a:schemeClr val="bg1"/>
                  </a:solidFill>
                </a:rPr>
              </a:br>
              <a:r>
                <a:rPr lang="nb-NO" kern="1200" dirty="0">
                  <a:solidFill>
                    <a:schemeClr val="bg1"/>
                  </a:solidFill>
                </a:rPr>
                <a:t>forsikring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9175F7AF-3E42-ADD4-55C7-B21832A326E2}"/>
                </a:ext>
              </a:extLst>
            </p:cNvPr>
            <p:cNvSpPr txBox="1"/>
            <p:nvPr/>
          </p:nvSpPr>
          <p:spPr>
            <a:xfrm>
              <a:off x="9909486" y="3659471"/>
              <a:ext cx="1214070" cy="59785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nb-NO" b="1" kern="1200" dirty="0">
                  <a:solidFill>
                    <a:schemeClr val="bg1"/>
                  </a:solidFill>
                </a:rPr>
                <a:t>Bruke</a:t>
              </a:r>
              <a:br>
                <a:rPr lang="nb-NO" kern="1200" dirty="0">
                  <a:solidFill>
                    <a:schemeClr val="bg1"/>
                  </a:solidFill>
                </a:rPr>
              </a:br>
              <a:r>
                <a:rPr lang="nb-NO" kern="1200" dirty="0">
                  <a:solidFill>
                    <a:schemeClr val="bg1"/>
                  </a:solidFill>
                </a:rPr>
                <a:t>forsikring</a:t>
              </a:r>
            </a:p>
          </p:txBody>
        </p:sp>
        <p:sp>
          <p:nvSpPr>
            <p:cNvPr id="64" name="Isosceles Triangle 63">
              <a:extLst>
                <a:ext uri="{FF2B5EF4-FFF2-40B4-BE49-F238E27FC236}">
                  <a16:creationId xmlns:a16="http://schemas.microsoft.com/office/drawing/2014/main" id="{8212E903-6C03-0843-78F8-791A75C2B7F9}"/>
                </a:ext>
              </a:extLst>
            </p:cNvPr>
            <p:cNvSpPr/>
            <p:nvPr/>
          </p:nvSpPr>
          <p:spPr>
            <a:xfrm rot="5400000">
              <a:off x="5604230" y="3817654"/>
              <a:ext cx="494826" cy="149512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0" tIns="270000" rIns="270000" bIns="270000" rtlCol="0" anchor="ctr"/>
            <a:lstStyle/>
            <a:p>
              <a:pPr algn="ctr"/>
              <a:endParaRPr lang="nb-NO" sz="1600" noProof="0">
                <a:solidFill>
                  <a:schemeClr val="bg1"/>
                </a:solidFill>
              </a:endParaRPr>
            </a:p>
          </p:txBody>
        </p:sp>
        <p:sp>
          <p:nvSpPr>
            <p:cNvPr id="65" name="Isosceles Triangle 64">
              <a:extLst>
                <a:ext uri="{FF2B5EF4-FFF2-40B4-BE49-F238E27FC236}">
                  <a16:creationId xmlns:a16="http://schemas.microsoft.com/office/drawing/2014/main" id="{44698CB7-F6AC-B300-4E59-E3A4BEBDE64A}"/>
                </a:ext>
              </a:extLst>
            </p:cNvPr>
            <p:cNvSpPr/>
            <p:nvPr/>
          </p:nvSpPr>
          <p:spPr>
            <a:xfrm rot="5400000">
              <a:off x="8542698" y="3827179"/>
              <a:ext cx="494826" cy="149512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0" tIns="270000" rIns="270000" bIns="270000" rtlCol="0" anchor="ctr"/>
            <a:lstStyle/>
            <a:p>
              <a:pPr algn="ctr"/>
              <a:endParaRPr lang="nb-NO" sz="1600" noProof="0">
                <a:solidFill>
                  <a:schemeClr val="bg1"/>
                </a:solidFill>
              </a:endParaRPr>
            </a:p>
          </p:txBody>
        </p: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FA03F202-C8CD-3140-67F5-E32CCAAD9CFC}"/>
                </a:ext>
              </a:extLst>
            </p:cNvPr>
            <p:cNvGrpSpPr/>
            <p:nvPr/>
          </p:nvGrpSpPr>
          <p:grpSpPr>
            <a:xfrm>
              <a:off x="8912177" y="3537159"/>
              <a:ext cx="1287525" cy="866286"/>
              <a:chOff x="8151646" y="3188044"/>
              <a:chExt cx="1287525" cy="866286"/>
            </a:xfrm>
          </p:grpSpPr>
          <p:pic>
            <p:nvPicPr>
              <p:cNvPr id="76" name="Picture 75" descr="Bandage">
                <a:extLst>
                  <a:ext uri="{FF2B5EF4-FFF2-40B4-BE49-F238E27FC236}">
                    <a16:creationId xmlns:a16="http://schemas.microsoft.com/office/drawing/2014/main" id="{E4C1B089-A5DC-D1C2-86D6-709CA4E20DB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19971953">
                <a:off x="8151646" y="3188044"/>
                <a:ext cx="1263715" cy="842477"/>
              </a:xfrm>
              <a:prstGeom prst="rect">
                <a:avLst/>
              </a:prstGeom>
            </p:spPr>
          </p:pic>
          <p:pic>
            <p:nvPicPr>
              <p:cNvPr id="77" name="Picture 76" descr="Bandage">
                <a:extLst>
                  <a:ext uri="{FF2B5EF4-FFF2-40B4-BE49-F238E27FC236}">
                    <a16:creationId xmlns:a16="http://schemas.microsoft.com/office/drawing/2014/main" id="{84C79EC8-8DB6-0493-9A6A-6131A86723B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1632937">
                <a:off x="8175456" y="3211853"/>
                <a:ext cx="1263715" cy="842477"/>
              </a:xfrm>
              <a:prstGeom prst="rect">
                <a:avLst/>
              </a:prstGeom>
            </p:spPr>
          </p:pic>
        </p:grp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F78CE0D7-3122-A455-131A-EA59936048A7}"/>
                </a:ext>
              </a:extLst>
            </p:cNvPr>
            <p:cNvSpPr txBox="1"/>
            <p:nvPr/>
          </p:nvSpPr>
          <p:spPr>
            <a:xfrm>
              <a:off x="7371074" y="3659471"/>
              <a:ext cx="1214070" cy="59785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nb-NO" b="1" kern="1200" dirty="0">
                  <a:solidFill>
                    <a:schemeClr val="bg1"/>
                  </a:solidFill>
                </a:rPr>
                <a:t>Ha</a:t>
              </a:r>
              <a:br>
                <a:rPr lang="nb-NO" kern="1200" dirty="0">
                  <a:solidFill>
                    <a:schemeClr val="bg1"/>
                  </a:solidFill>
                </a:rPr>
              </a:br>
              <a:r>
                <a:rPr lang="nb-NO" kern="1200" dirty="0">
                  <a:solidFill>
                    <a:schemeClr val="bg1"/>
                  </a:solidFill>
                </a:rPr>
                <a:t>forsikring</a:t>
              </a:r>
            </a:p>
          </p:txBody>
        </p: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227B0DC-76D0-14D7-FB33-34850BB4188E}"/>
                </a:ext>
              </a:extLst>
            </p:cNvPr>
            <p:cNvCxnSpPr>
              <a:cxnSpLocks/>
            </p:cNvCxnSpPr>
            <p:nvPr/>
          </p:nvCxnSpPr>
          <p:spPr>
            <a:xfrm>
              <a:off x="3699950" y="3317492"/>
              <a:ext cx="5433430" cy="0"/>
            </a:xfrm>
            <a:prstGeom prst="line">
              <a:avLst/>
            </a:prstGeom>
            <a:ln w="12700">
              <a:solidFill>
                <a:schemeClr val="tx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61F5F66F-2F99-20B7-A19B-4C6438C78D39}"/>
                </a:ext>
              </a:extLst>
            </p:cNvPr>
            <p:cNvGrpSpPr/>
            <p:nvPr/>
          </p:nvGrpSpPr>
          <p:grpSpPr>
            <a:xfrm>
              <a:off x="3144717" y="3185185"/>
              <a:ext cx="1395321" cy="1233472"/>
              <a:chOff x="2798523" y="3013832"/>
              <a:chExt cx="1395321" cy="1233472"/>
            </a:xfrm>
          </p:grpSpPr>
          <p:pic>
            <p:nvPicPr>
              <p:cNvPr id="74" name="Picture 73" descr="Shopping handbasket">
                <a:extLst>
                  <a:ext uri="{FF2B5EF4-FFF2-40B4-BE49-F238E27FC236}">
                    <a16:creationId xmlns:a16="http://schemas.microsoft.com/office/drawing/2014/main" id="{BF93E036-B1EB-7394-B96F-4D59FFD2072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prstClr val="black"/>
                  <a:schemeClr val="accent5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798523" y="3013832"/>
                <a:ext cx="1395321" cy="1233472"/>
              </a:xfrm>
              <a:prstGeom prst="rect">
                <a:avLst/>
              </a:prstGeom>
            </p:spPr>
          </p:pic>
          <p:pic>
            <p:nvPicPr>
              <p:cNvPr id="75" name="Logo">
                <a:extLst>
                  <a:ext uri="{FF2B5EF4-FFF2-40B4-BE49-F238E27FC236}">
                    <a16:creationId xmlns:a16="http://schemas.microsoft.com/office/drawing/2014/main" id="{78EB90E5-9B50-4E5A-4141-97EE54DC687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rcRect l="72425" t="-5750" b="1"/>
              <a:stretch/>
            </p:blipFill>
            <p:spPr>
              <a:xfrm>
                <a:off x="3338208" y="3699790"/>
                <a:ext cx="263948" cy="250703"/>
              </a:xfrm>
              <a:prstGeom prst="rect">
                <a:avLst/>
              </a:prstGeom>
            </p:spPr>
          </p:pic>
        </p:grp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3A7FA0C0-2CDD-01E7-26E3-686C0FF9EE19}"/>
                </a:ext>
              </a:extLst>
            </p:cNvPr>
            <p:cNvSpPr/>
            <p:nvPr/>
          </p:nvSpPr>
          <p:spPr>
            <a:xfrm>
              <a:off x="6266385" y="3587845"/>
              <a:ext cx="839223" cy="63473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0" tIns="270000" rIns="270000" bIns="270000" rtlCol="0" anchor="ctr"/>
            <a:lstStyle/>
            <a:p>
              <a:pPr algn="ctr"/>
              <a:endParaRPr lang="nb-NO" sz="1600" noProof="0">
                <a:solidFill>
                  <a:schemeClr val="bg1"/>
                </a:solidFill>
              </a:endParaRPr>
            </a:p>
          </p:txBody>
        </p:sp>
        <p:pic>
          <p:nvPicPr>
            <p:cNvPr id="72" name="Picture 71">
              <a:extLst>
                <a:ext uri="{FF2B5EF4-FFF2-40B4-BE49-F238E27FC236}">
                  <a16:creationId xmlns:a16="http://schemas.microsoft.com/office/drawing/2014/main" id="{49675F29-6F74-9188-8D27-B949A486A11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6173761" y="3584061"/>
              <a:ext cx="1021470" cy="632965"/>
            </a:xfrm>
            <a:prstGeom prst="rect">
              <a:avLst/>
            </a:prstGeom>
          </p:spPr>
        </p:pic>
        <p:pic>
          <p:nvPicPr>
            <p:cNvPr id="73" name="Picture 72">
              <a:extLst>
                <a:ext uri="{FF2B5EF4-FFF2-40B4-BE49-F238E27FC236}">
                  <a16:creationId xmlns:a16="http://schemas.microsoft.com/office/drawing/2014/main" id="{F21574C4-9136-6F91-CEF1-89C9A6C1152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>
              <a:clrChange>
                <a:clrFrom>
                  <a:srgbClr val="F7F7F7"/>
                </a:clrFrom>
                <a:clrTo>
                  <a:srgbClr val="F7F7F7">
                    <a:alpha val="0"/>
                  </a:srgbClr>
                </a:clrTo>
              </a:clrChange>
            </a:blip>
            <a:srcRect l="2329" t="8859" r="2572"/>
            <a:stretch/>
          </p:blipFill>
          <p:spPr>
            <a:xfrm>
              <a:off x="6003089" y="3496533"/>
              <a:ext cx="1374062" cy="929095"/>
            </a:xfrm>
            <a:prstGeom prst="rect">
              <a:avLst/>
            </a:prstGeom>
          </p:spPr>
        </p:pic>
      </p:grpSp>
      <p:sp>
        <p:nvSpPr>
          <p:cNvPr id="43" name="Tittel 42">
            <a:extLst>
              <a:ext uri="{FF2B5EF4-FFF2-40B4-BE49-F238E27FC236}">
                <a16:creationId xmlns:a16="http://schemas.microsoft.com/office/drawing/2014/main" id="{D71491CD-CC44-18EE-309B-EB55C4A701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dirty="0"/>
              <a:t>Data som </a:t>
            </a:r>
            <a:r>
              <a:rPr lang="nb-NO" dirty="0" err="1"/>
              <a:t>fundametalt</a:t>
            </a:r>
            <a:r>
              <a:rPr lang="nb-NO" dirty="0"/>
              <a:t> grunnlag i forsikring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0C3DA848-ABCD-D726-BD8E-1F6E7E4255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65600" y="6646360"/>
            <a:ext cx="277200" cy="309600"/>
          </a:xfrm>
        </p:spPr>
        <p:txBody>
          <a:bodyPr/>
          <a:lstStyle/>
          <a:p>
            <a:fld id="{23AA811B-2EBD-4900-905E-5BE206449611}" type="slidenum">
              <a:rPr lang="nb-NO" smtClean="0"/>
              <a:pPr/>
              <a:t>5</a:t>
            </a:fld>
            <a:endParaRPr lang="nb-NO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9CF9A662-02DC-6D66-B8C8-03AF2024FB40}"/>
              </a:ext>
            </a:extLst>
          </p:cNvPr>
          <p:cNvGrpSpPr/>
          <p:nvPr/>
        </p:nvGrpSpPr>
        <p:grpSpPr>
          <a:xfrm>
            <a:off x="1184956" y="5017458"/>
            <a:ext cx="3044744" cy="1526819"/>
            <a:chOff x="450000" y="2580279"/>
            <a:chExt cx="3044744" cy="1526819"/>
          </a:xfrm>
        </p:grpSpPr>
        <p:sp>
          <p:nvSpPr>
            <p:cNvPr id="28" name="Bildeforklaring formet som et rektangel 27">
              <a:extLst>
                <a:ext uri="{FF2B5EF4-FFF2-40B4-BE49-F238E27FC236}">
                  <a16:creationId xmlns:a16="http://schemas.microsoft.com/office/drawing/2014/main" id="{92A698F9-0961-F80F-27C0-705DE61C4FC5}"/>
                </a:ext>
              </a:extLst>
            </p:cNvPr>
            <p:cNvSpPr/>
            <p:nvPr/>
          </p:nvSpPr>
          <p:spPr>
            <a:xfrm>
              <a:off x="450000" y="2982083"/>
              <a:ext cx="2123851" cy="1125015"/>
            </a:xfrm>
            <a:prstGeom prst="wedgeRectCallout">
              <a:avLst>
                <a:gd name="adj1" fmla="val 49107"/>
                <a:gd name="adj2" fmla="val -133036"/>
              </a:avLst>
            </a:prstGeom>
            <a:ln/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lIns="270000" tIns="270000" rIns="270000" bIns="270000" rtlCol="0" anchor="ctr"/>
            <a:lstStyle/>
            <a:p>
              <a:pPr algn="ctr"/>
              <a:r>
                <a:rPr lang="nb-NO" sz="1600" noProof="0" dirty="0">
                  <a:solidFill>
                    <a:schemeClr val="tx1"/>
                  </a:solidFill>
                </a:rPr>
                <a:t>Hvordan skal vi prise produkt eller tjeneste?</a:t>
              </a:r>
            </a:p>
          </p:txBody>
        </p:sp>
        <p:pic>
          <p:nvPicPr>
            <p:cNvPr id="45" name="Grafikk 44">
              <a:extLst>
                <a:ext uri="{FF2B5EF4-FFF2-40B4-BE49-F238E27FC236}">
                  <a16:creationId xmlns:a16="http://schemas.microsoft.com/office/drawing/2014/main" id="{F1B0F716-AFCC-665F-E69B-3CF7B01EF419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1586435" y="2580279"/>
              <a:ext cx="1908309" cy="1073424"/>
            </a:xfrm>
            <a:prstGeom prst="rect">
              <a:avLst/>
            </a:prstGeom>
          </p:spPr>
        </p:pic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55D38617-D73E-3F73-2EE4-5A0DD6ADFAA3}"/>
              </a:ext>
            </a:extLst>
          </p:cNvPr>
          <p:cNvGrpSpPr/>
          <p:nvPr/>
        </p:nvGrpSpPr>
        <p:grpSpPr>
          <a:xfrm>
            <a:off x="3370468" y="1479748"/>
            <a:ext cx="3383492" cy="1178467"/>
            <a:chOff x="2448655" y="1502456"/>
            <a:chExt cx="3383492" cy="1178467"/>
          </a:xfrm>
        </p:grpSpPr>
        <p:sp>
          <p:nvSpPr>
            <p:cNvPr id="34" name="Bildeforklaring formet som et rektangel 33">
              <a:extLst>
                <a:ext uri="{FF2B5EF4-FFF2-40B4-BE49-F238E27FC236}">
                  <a16:creationId xmlns:a16="http://schemas.microsoft.com/office/drawing/2014/main" id="{C0489A6B-80EF-A596-65CF-2E0ECE5DAEBD}"/>
                </a:ext>
              </a:extLst>
            </p:cNvPr>
            <p:cNvSpPr/>
            <p:nvPr/>
          </p:nvSpPr>
          <p:spPr>
            <a:xfrm>
              <a:off x="2448655" y="1877906"/>
              <a:ext cx="2450761" cy="803017"/>
            </a:xfrm>
            <a:prstGeom prst="wedgeRectCallout">
              <a:avLst>
                <a:gd name="adj1" fmla="val -21920"/>
                <a:gd name="adj2" fmla="val 153467"/>
              </a:avLst>
            </a:prstGeom>
            <a:ln/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lIns="270000" tIns="270000" rIns="270000" bIns="270000" rtlCol="0" anchor="ctr"/>
            <a:lstStyle/>
            <a:p>
              <a:pPr algn="ctr"/>
              <a:r>
                <a:rPr lang="nb-NO" sz="1600" noProof="0" dirty="0">
                  <a:solidFill>
                    <a:schemeClr val="tx1"/>
                  </a:solidFill>
                </a:rPr>
                <a:t>Vil kunden på telefon være profitabel</a:t>
              </a:r>
              <a:r>
                <a:rPr lang="nb-NO" sz="1600" dirty="0">
                  <a:solidFill>
                    <a:schemeClr val="tx1"/>
                  </a:solidFill>
                </a:rPr>
                <a:t>?</a:t>
              </a:r>
              <a:endParaRPr lang="nb-NO" sz="1600" noProof="0" dirty="0">
                <a:solidFill>
                  <a:schemeClr val="tx1"/>
                </a:solidFill>
              </a:endParaRPr>
            </a:p>
          </p:txBody>
        </p:sp>
        <p:pic>
          <p:nvPicPr>
            <p:cNvPr id="46" name="Grafikk 45">
              <a:extLst>
                <a:ext uri="{FF2B5EF4-FFF2-40B4-BE49-F238E27FC236}">
                  <a16:creationId xmlns:a16="http://schemas.microsoft.com/office/drawing/2014/main" id="{5459AA02-8024-EEA2-F904-48B7331692A8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3923838" y="1502456"/>
              <a:ext cx="1908309" cy="1073424"/>
            </a:xfrm>
            <a:prstGeom prst="rect">
              <a:avLst/>
            </a:prstGeom>
          </p:spPr>
        </p:pic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8EEB2187-238D-34E0-B98E-0530747BDE99}"/>
              </a:ext>
            </a:extLst>
          </p:cNvPr>
          <p:cNvGrpSpPr/>
          <p:nvPr/>
        </p:nvGrpSpPr>
        <p:grpSpPr>
          <a:xfrm>
            <a:off x="3812414" y="4902984"/>
            <a:ext cx="4412244" cy="1563542"/>
            <a:chOff x="349200" y="4941658"/>
            <a:chExt cx="4412244" cy="1563542"/>
          </a:xfrm>
        </p:grpSpPr>
        <p:sp>
          <p:nvSpPr>
            <p:cNvPr id="29" name="Bildeforklaring formet som et rektangel 28">
              <a:extLst>
                <a:ext uri="{FF2B5EF4-FFF2-40B4-BE49-F238E27FC236}">
                  <a16:creationId xmlns:a16="http://schemas.microsoft.com/office/drawing/2014/main" id="{24EE92B8-B249-CB81-868C-9671BB267F5C}"/>
                </a:ext>
              </a:extLst>
            </p:cNvPr>
            <p:cNvSpPr/>
            <p:nvPr/>
          </p:nvSpPr>
          <p:spPr>
            <a:xfrm>
              <a:off x="349200" y="5380185"/>
              <a:ext cx="3493690" cy="1125015"/>
            </a:xfrm>
            <a:prstGeom prst="wedgeRectCallout">
              <a:avLst>
                <a:gd name="adj1" fmla="val -20306"/>
                <a:gd name="adj2" fmla="val -124015"/>
              </a:avLst>
            </a:prstGeom>
            <a:ln/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lIns="270000" tIns="270000" rIns="270000" bIns="270000" rtlCol="0" anchor="ctr"/>
            <a:lstStyle/>
            <a:p>
              <a:pPr algn="ctr"/>
              <a:r>
                <a:rPr lang="nb-NO" sz="1600" b="0" i="0" u="none" strike="noStrike" dirty="0">
                  <a:solidFill>
                    <a:schemeClr val="tx1"/>
                  </a:solidFill>
                  <a:effectLst/>
                </a:rPr>
                <a:t>Potensiale for mersalg hos kunden? Bør vi kontakte dem?</a:t>
              </a:r>
              <a:endParaRPr lang="nb-NO" sz="1600" noProof="0" dirty="0">
                <a:solidFill>
                  <a:schemeClr val="tx1"/>
                </a:solidFill>
              </a:endParaRPr>
            </a:p>
          </p:txBody>
        </p:sp>
        <p:pic>
          <p:nvPicPr>
            <p:cNvPr id="47" name="Grafikk 46">
              <a:extLst>
                <a:ext uri="{FF2B5EF4-FFF2-40B4-BE49-F238E27FC236}">
                  <a16:creationId xmlns:a16="http://schemas.microsoft.com/office/drawing/2014/main" id="{7D3968E9-7781-7AEA-5263-FF2C4F178B6B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2853135" y="4941658"/>
              <a:ext cx="1908309" cy="1073424"/>
            </a:xfrm>
            <a:prstGeom prst="rect">
              <a:avLst/>
            </a:prstGeom>
          </p:spPr>
        </p:pic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38D2A207-2DA3-A774-E772-4636640E8CC7}"/>
              </a:ext>
            </a:extLst>
          </p:cNvPr>
          <p:cNvGrpSpPr/>
          <p:nvPr/>
        </p:nvGrpSpPr>
        <p:grpSpPr>
          <a:xfrm>
            <a:off x="6295055" y="1515852"/>
            <a:ext cx="3315471" cy="1642901"/>
            <a:chOff x="5696140" y="1372638"/>
            <a:chExt cx="3315471" cy="1642901"/>
          </a:xfrm>
        </p:grpSpPr>
        <p:sp>
          <p:nvSpPr>
            <p:cNvPr id="35" name="Bildeforklaring formet som et rektangel 34">
              <a:extLst>
                <a:ext uri="{FF2B5EF4-FFF2-40B4-BE49-F238E27FC236}">
                  <a16:creationId xmlns:a16="http://schemas.microsoft.com/office/drawing/2014/main" id="{B1FC2E78-8335-83CC-6F60-3168FA695653}"/>
                </a:ext>
              </a:extLst>
            </p:cNvPr>
            <p:cNvSpPr/>
            <p:nvPr/>
          </p:nvSpPr>
          <p:spPr>
            <a:xfrm>
              <a:off x="5696140" y="1665180"/>
              <a:ext cx="2450761" cy="1350359"/>
            </a:xfrm>
            <a:prstGeom prst="wedgeRectCallout">
              <a:avLst>
                <a:gd name="adj1" fmla="val -24311"/>
                <a:gd name="adj2" fmla="val 76493"/>
              </a:avLst>
            </a:prstGeom>
            <a:ln/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lIns="270000" tIns="270000" rIns="270000" bIns="270000" rtlCol="0" anchor="ctr"/>
            <a:lstStyle/>
            <a:p>
              <a:pPr algn="ctr"/>
              <a:r>
                <a:rPr lang="nb-NO" sz="1600" dirty="0">
                  <a:solidFill>
                    <a:schemeClr val="tx1"/>
                  </a:solidFill>
                </a:rPr>
                <a:t>Kunden kjøpte nettopp hus. Hvilke råd skal vi gi dem?</a:t>
              </a:r>
              <a:endParaRPr lang="nb-NO" sz="1600" noProof="0" dirty="0">
                <a:solidFill>
                  <a:schemeClr val="tx1"/>
                </a:solidFill>
              </a:endParaRPr>
            </a:p>
          </p:txBody>
        </p:sp>
        <p:pic>
          <p:nvPicPr>
            <p:cNvPr id="48" name="Grafikk 47">
              <a:extLst>
                <a:ext uri="{FF2B5EF4-FFF2-40B4-BE49-F238E27FC236}">
                  <a16:creationId xmlns:a16="http://schemas.microsoft.com/office/drawing/2014/main" id="{761AFA7C-FC7D-65BE-15FC-474676DF86F5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7103302" y="1372638"/>
              <a:ext cx="1908309" cy="1073424"/>
            </a:xfrm>
            <a:prstGeom prst="rect">
              <a:avLst/>
            </a:prstGeom>
          </p:spPr>
        </p:pic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0FDA08A0-C01E-FEDE-951E-041D051D5ED4}"/>
              </a:ext>
            </a:extLst>
          </p:cNvPr>
          <p:cNvGrpSpPr/>
          <p:nvPr/>
        </p:nvGrpSpPr>
        <p:grpSpPr>
          <a:xfrm>
            <a:off x="9501427" y="994905"/>
            <a:ext cx="2850293" cy="1544841"/>
            <a:chOff x="9139534" y="1605600"/>
            <a:chExt cx="2850293" cy="1544841"/>
          </a:xfrm>
        </p:grpSpPr>
        <p:sp>
          <p:nvSpPr>
            <p:cNvPr id="36" name="Bildeforklaring formet som et rektangel 35">
              <a:extLst>
                <a:ext uri="{FF2B5EF4-FFF2-40B4-BE49-F238E27FC236}">
                  <a16:creationId xmlns:a16="http://schemas.microsoft.com/office/drawing/2014/main" id="{681445B0-74D6-3410-43E4-F88D5C92A3B2}"/>
                </a:ext>
              </a:extLst>
            </p:cNvPr>
            <p:cNvSpPr/>
            <p:nvPr/>
          </p:nvSpPr>
          <p:spPr>
            <a:xfrm>
              <a:off x="9139534" y="1785954"/>
              <a:ext cx="1964666" cy="1364487"/>
            </a:xfrm>
            <a:prstGeom prst="wedgeRectCallout">
              <a:avLst>
                <a:gd name="adj1" fmla="val -46511"/>
                <a:gd name="adj2" fmla="val 136552"/>
              </a:avLst>
            </a:prstGeom>
            <a:ln/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lIns="270000" tIns="270000" rIns="270000" bIns="270000" rtlCol="0" anchor="ctr"/>
            <a:lstStyle/>
            <a:p>
              <a:pPr algn="ctr"/>
              <a:r>
                <a:rPr lang="nb-NO" sz="1600" b="0" i="0" u="none" strike="noStrike" dirty="0">
                  <a:solidFill>
                    <a:schemeClr val="tx1"/>
                  </a:solidFill>
                  <a:effectLst/>
                </a:rPr>
                <a:t>Kan vi behandle kundens skademelding automatisk?</a:t>
              </a:r>
              <a:endParaRPr lang="nb-NO" sz="1600" noProof="0" dirty="0">
                <a:solidFill>
                  <a:schemeClr val="tx1"/>
                </a:solidFill>
              </a:endParaRPr>
            </a:p>
          </p:txBody>
        </p:sp>
        <p:pic>
          <p:nvPicPr>
            <p:cNvPr id="49" name="Grafikk 48">
              <a:extLst>
                <a:ext uri="{FF2B5EF4-FFF2-40B4-BE49-F238E27FC236}">
                  <a16:creationId xmlns:a16="http://schemas.microsoft.com/office/drawing/2014/main" id="{F05BFCB8-3654-CCE8-BAE4-7C7D65F68C7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10081518" y="1605600"/>
              <a:ext cx="1908309" cy="1073424"/>
            </a:xfrm>
            <a:prstGeom prst="rect">
              <a:avLst/>
            </a:prstGeom>
          </p:spPr>
        </p:pic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824E7B8D-509A-FCE3-410C-DAC220104EF3}"/>
              </a:ext>
            </a:extLst>
          </p:cNvPr>
          <p:cNvGrpSpPr/>
          <p:nvPr/>
        </p:nvGrpSpPr>
        <p:grpSpPr>
          <a:xfrm>
            <a:off x="9501427" y="4272970"/>
            <a:ext cx="3297258" cy="1128676"/>
            <a:chOff x="9082513" y="3222311"/>
            <a:chExt cx="3297258" cy="1128676"/>
          </a:xfrm>
        </p:grpSpPr>
        <p:sp>
          <p:nvSpPr>
            <p:cNvPr id="37" name="Bildeforklaring formet som et rektangel 36">
              <a:extLst>
                <a:ext uri="{FF2B5EF4-FFF2-40B4-BE49-F238E27FC236}">
                  <a16:creationId xmlns:a16="http://schemas.microsoft.com/office/drawing/2014/main" id="{2EE5893B-9D58-CF23-33CA-A968C2B9866B}"/>
                </a:ext>
              </a:extLst>
            </p:cNvPr>
            <p:cNvSpPr/>
            <p:nvPr/>
          </p:nvSpPr>
          <p:spPr>
            <a:xfrm>
              <a:off x="9082513" y="3698262"/>
              <a:ext cx="2344099" cy="652725"/>
            </a:xfrm>
            <a:prstGeom prst="wedgeRectCallout">
              <a:avLst>
                <a:gd name="adj1" fmla="val -28982"/>
                <a:gd name="adj2" fmla="val -123348"/>
              </a:avLst>
            </a:prstGeom>
            <a:ln/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lIns="270000" tIns="270000" rIns="270000" bIns="270000" rtlCol="0" anchor="ctr"/>
            <a:lstStyle/>
            <a:p>
              <a:pPr algn="ctr"/>
              <a:r>
                <a:rPr lang="nb-NO" sz="1600" noProof="0" dirty="0">
                  <a:solidFill>
                    <a:schemeClr val="tx1"/>
                  </a:solidFill>
                </a:rPr>
                <a:t>Er skademeldingen legitimt?</a:t>
              </a:r>
            </a:p>
          </p:txBody>
        </p:sp>
        <p:pic>
          <p:nvPicPr>
            <p:cNvPr id="50" name="Grafikk 49">
              <a:extLst>
                <a:ext uri="{FF2B5EF4-FFF2-40B4-BE49-F238E27FC236}">
                  <a16:creationId xmlns:a16="http://schemas.microsoft.com/office/drawing/2014/main" id="{D5150D8F-B81C-3908-F24E-88DEA55A7145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10471462" y="3222311"/>
              <a:ext cx="1908309" cy="1073424"/>
            </a:xfrm>
            <a:prstGeom prst="rect">
              <a:avLst/>
            </a:prstGeom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E432EFCD-2EC4-2464-8F21-FAEA7445F525}"/>
              </a:ext>
            </a:extLst>
          </p:cNvPr>
          <p:cNvGrpSpPr/>
          <p:nvPr/>
        </p:nvGrpSpPr>
        <p:grpSpPr>
          <a:xfrm>
            <a:off x="7826546" y="5392410"/>
            <a:ext cx="3762008" cy="1320421"/>
            <a:chOff x="9262000" y="4821002"/>
            <a:chExt cx="3762008" cy="1320421"/>
          </a:xfrm>
        </p:grpSpPr>
        <p:sp>
          <p:nvSpPr>
            <p:cNvPr id="38" name="Bildeforklaring formet som et rektangel 37">
              <a:extLst>
                <a:ext uri="{FF2B5EF4-FFF2-40B4-BE49-F238E27FC236}">
                  <a16:creationId xmlns:a16="http://schemas.microsoft.com/office/drawing/2014/main" id="{7D3AE3E4-E6CF-3F89-8FB5-0EAAA105A76B}"/>
                </a:ext>
              </a:extLst>
            </p:cNvPr>
            <p:cNvSpPr/>
            <p:nvPr/>
          </p:nvSpPr>
          <p:spPr>
            <a:xfrm>
              <a:off x="9262000" y="5209460"/>
              <a:ext cx="2807854" cy="931963"/>
            </a:xfrm>
            <a:prstGeom prst="wedgeRectCallout">
              <a:avLst>
                <a:gd name="adj1" fmla="val -13126"/>
                <a:gd name="adj2" fmla="val -203352"/>
              </a:avLst>
            </a:prstGeom>
            <a:ln/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lIns="270000" tIns="270000" rIns="270000" bIns="270000" rtlCol="0" anchor="ctr"/>
            <a:lstStyle/>
            <a:p>
              <a:pPr algn="ctr"/>
              <a:r>
                <a:rPr lang="nb-NO" sz="1600" noProof="0" dirty="0">
                  <a:solidFill>
                    <a:schemeClr val="tx1"/>
                  </a:solidFill>
                </a:rPr>
                <a:t>Hvor mye penger trenger vi til framtidige skademeldinger?</a:t>
              </a:r>
            </a:p>
          </p:txBody>
        </p:sp>
        <p:pic>
          <p:nvPicPr>
            <p:cNvPr id="51" name="Grafikk 50">
              <a:extLst>
                <a:ext uri="{FF2B5EF4-FFF2-40B4-BE49-F238E27FC236}">
                  <a16:creationId xmlns:a16="http://schemas.microsoft.com/office/drawing/2014/main" id="{3181C467-39CE-06E0-3192-E7A6C3EF39D2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11115699" y="4821002"/>
              <a:ext cx="1908309" cy="1073424"/>
            </a:xfrm>
            <a:prstGeom prst="rect">
              <a:avLst/>
            </a:prstGeom>
          </p:spPr>
        </p:pic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CB0FDD07-FF8A-5C80-A3AC-641CBC6DE9F6}"/>
              </a:ext>
            </a:extLst>
          </p:cNvPr>
          <p:cNvGrpSpPr/>
          <p:nvPr/>
        </p:nvGrpSpPr>
        <p:grpSpPr>
          <a:xfrm>
            <a:off x="776394" y="1413158"/>
            <a:ext cx="3044744" cy="1274839"/>
            <a:chOff x="619425" y="3778035"/>
            <a:chExt cx="3044744" cy="1274839"/>
          </a:xfrm>
        </p:grpSpPr>
        <p:sp>
          <p:nvSpPr>
            <p:cNvPr id="8" name="Bildeforklaring formet som et rektangel 27">
              <a:extLst>
                <a:ext uri="{FF2B5EF4-FFF2-40B4-BE49-F238E27FC236}">
                  <a16:creationId xmlns:a16="http://schemas.microsoft.com/office/drawing/2014/main" id="{CFA299B2-0011-3402-7163-BDC9F02353C6}"/>
                </a:ext>
              </a:extLst>
            </p:cNvPr>
            <p:cNvSpPr/>
            <p:nvPr/>
          </p:nvSpPr>
          <p:spPr>
            <a:xfrm>
              <a:off x="619425" y="4354328"/>
              <a:ext cx="2123851" cy="698546"/>
            </a:xfrm>
            <a:prstGeom prst="wedgeRectCallout">
              <a:avLst>
                <a:gd name="adj1" fmla="val 70781"/>
                <a:gd name="adj2" fmla="val 127205"/>
              </a:avLst>
            </a:prstGeom>
            <a:ln/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lIns="270000" tIns="270000" rIns="270000" bIns="270000" rtlCol="0" anchor="ctr"/>
            <a:lstStyle/>
            <a:p>
              <a:pPr algn="ctr"/>
              <a:r>
                <a:rPr lang="nb-NO" sz="1600" noProof="0" dirty="0">
                  <a:solidFill>
                    <a:schemeClr val="tx1"/>
                  </a:solidFill>
                </a:rPr>
                <a:t>Hvordan skal vi markedsføre?</a:t>
              </a:r>
            </a:p>
          </p:txBody>
        </p:sp>
        <p:pic>
          <p:nvPicPr>
            <p:cNvPr id="10" name="Grafikk 44">
              <a:extLst>
                <a:ext uri="{FF2B5EF4-FFF2-40B4-BE49-F238E27FC236}">
                  <a16:creationId xmlns:a16="http://schemas.microsoft.com/office/drawing/2014/main" id="{8F917471-5243-402B-13A6-A11D8DB1A2DF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1755860" y="3778035"/>
              <a:ext cx="1908309" cy="1073424"/>
            </a:xfrm>
            <a:prstGeom prst="rect">
              <a:avLst/>
            </a:prstGeom>
          </p:spPr>
        </p:pic>
      </p:grpSp>
      <p:sp>
        <p:nvSpPr>
          <p:cNvPr id="9" name="Undertittel 2">
            <a:extLst>
              <a:ext uri="{FF2B5EF4-FFF2-40B4-BE49-F238E27FC236}">
                <a16:creationId xmlns:a16="http://schemas.microsoft.com/office/drawing/2014/main" id="{3C0A54CA-9341-66E8-427D-904766E3B214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nb-NO" dirty="0"/>
              <a:t>Møt </a:t>
            </a:r>
            <a:r>
              <a:rPr lang="nb-NO" dirty="0" err="1"/>
              <a:t>Eglev</a:t>
            </a:r>
            <a:r>
              <a:rPr lang="nb-NO" dirty="0"/>
              <a:t> – vår LLM analytiker</a:t>
            </a:r>
          </a:p>
        </p:txBody>
      </p:sp>
    </p:spTree>
    <p:extLst>
      <p:ext uri="{BB962C8B-B14F-4D97-AF65-F5344CB8AC3E}">
        <p14:creationId xmlns:p14="http://schemas.microsoft.com/office/powerpoint/2010/main" val="13939708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C1B4EF8D-330E-DB77-453B-2A0A2BF6471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"/>
          <a:stretch/>
        </p:blipFill>
        <p:spPr bwMode="auto">
          <a:xfrm>
            <a:off x="0" y="0"/>
            <a:ext cx="12193200" cy="6857989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1031" name="Text Placeholder 2">
            <a:extLst>
              <a:ext uri="{FF2B5EF4-FFF2-40B4-BE49-F238E27FC236}">
                <a16:creationId xmlns:a16="http://schemas.microsoft.com/office/drawing/2014/main" id="{A3AD1277-71C4-D486-AE93-AB62FDDDACD2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1245816" y="371478"/>
            <a:ext cx="510924" cy="507204"/>
          </a:xfrm>
        </p:spPr>
        <p:txBody>
          <a:bodyPr/>
          <a:lstStyle/>
          <a:p>
            <a:endParaRPr lang="en-US"/>
          </a:p>
        </p:txBody>
      </p:sp>
      <p:sp>
        <p:nvSpPr>
          <p:cNvPr id="7" name="Plassholder for bunntekst 6">
            <a:extLst>
              <a:ext uri="{FF2B5EF4-FFF2-40B4-BE49-F238E27FC236}">
                <a16:creationId xmlns:a16="http://schemas.microsoft.com/office/drawing/2014/main" id="{52CBD812-A95A-A515-88A3-6EBDCF936A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809200" y="6188400"/>
            <a:ext cx="2055600" cy="309600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r>
              <a:rPr lang="nb-NO"/>
              <a:t>Gjensidige Forsikring Group</a:t>
            </a:r>
          </a:p>
        </p:txBody>
      </p:sp>
      <p:sp>
        <p:nvSpPr>
          <p:cNvPr id="8" name="Plassholder for lysbildenummer 7">
            <a:extLst>
              <a:ext uri="{FF2B5EF4-FFF2-40B4-BE49-F238E27FC236}">
                <a16:creationId xmlns:a16="http://schemas.microsoft.com/office/drawing/2014/main" id="{98136D85-1F9F-97CD-3E9A-5F9B3B560D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65600" y="6188400"/>
            <a:ext cx="277200" cy="309600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fld id="{23AA811B-2EBD-4900-905E-5BE206449611}" type="slidenum">
              <a:rPr lang="nb-NO" smtClean="0"/>
              <a:pPr>
                <a:spcAft>
                  <a:spcPts val="600"/>
                </a:spcAft>
              </a:pPr>
              <a:t>6</a:t>
            </a:fld>
            <a:endParaRPr lang="nb-NO"/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26070A32-FB38-8644-C089-9378CEA6DBB7}"/>
              </a:ext>
            </a:extLst>
          </p:cNvPr>
          <p:cNvSpPr txBox="1">
            <a:spLocks/>
          </p:cNvSpPr>
          <p:nvPr/>
        </p:nvSpPr>
        <p:spPr>
          <a:xfrm>
            <a:off x="242689" y="2683545"/>
            <a:ext cx="11706622" cy="392296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101000"/>
              </a:lnSpc>
              <a:spcBef>
                <a:spcPct val="0"/>
              </a:spcBef>
              <a:buNone/>
              <a:defRPr sz="3200" b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7200" dirty="0">
                <a:solidFill>
                  <a:schemeClr val="accent2"/>
                </a:solidFill>
              </a:rPr>
              <a:t>Team </a:t>
            </a:r>
            <a:r>
              <a:rPr lang="nb-NO" sz="7200" dirty="0" err="1">
                <a:solidFill>
                  <a:schemeClr val="accent2"/>
                </a:solidFill>
              </a:rPr>
              <a:t>Eglev</a:t>
            </a:r>
            <a:endParaRPr lang="nb-NO" sz="72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6607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809500F4-B8E1-5023-B30E-6D32DB6C36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56B4A5AD-E099-4796-FC42-F50D7D05BC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nb-NO" smtClean="0"/>
              <a:t>7</a:t>
            </a:fld>
            <a:endParaRPr lang="nb-NO"/>
          </a:p>
        </p:txBody>
      </p:sp>
      <p:pic>
        <p:nvPicPr>
          <p:cNvPr id="7" name="Bilde 6" descr="Forretningsperson på en datamaskin">
            <a:extLst>
              <a:ext uri="{FF2B5EF4-FFF2-40B4-BE49-F238E27FC236}">
                <a16:creationId xmlns:a16="http://schemas.microsoft.com/office/drawing/2014/main" id="{680A2CF9-5DAB-76E0-77A2-8AFD94CDD97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91" r="5391"/>
          <a:stretch/>
        </p:blipFill>
        <p:spPr>
          <a:xfrm>
            <a:off x="0" y="-836633"/>
            <a:ext cx="12192000" cy="7686777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0B4DD39C-292C-CAEB-76C7-11EBA5FEEF48}"/>
              </a:ext>
            </a:extLst>
          </p:cNvPr>
          <p:cNvSpPr/>
          <p:nvPr/>
        </p:nvSpPr>
        <p:spPr>
          <a:xfrm>
            <a:off x="-6053" y="4673515"/>
            <a:ext cx="12192000" cy="218006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0" tIns="270000" rIns="270000" bIns="270000" rtlCol="0" anchor="ctr"/>
          <a:lstStyle/>
          <a:p>
            <a:pPr algn="ctr"/>
            <a:endParaRPr lang="en-GB" sz="1600" noProof="0">
              <a:solidFill>
                <a:schemeClr val="bg1"/>
              </a:solidFill>
            </a:endParaRPr>
          </a:p>
        </p:txBody>
      </p:sp>
      <p:cxnSp>
        <p:nvCxnSpPr>
          <p:cNvPr id="10" name="Rett linje 9">
            <a:extLst>
              <a:ext uri="{FF2B5EF4-FFF2-40B4-BE49-F238E27FC236}">
                <a16:creationId xmlns:a16="http://schemas.microsoft.com/office/drawing/2014/main" id="{A543F3EE-0426-1DD9-62D0-91C68B24F174}"/>
              </a:ext>
            </a:extLst>
          </p:cNvPr>
          <p:cNvCxnSpPr>
            <a:cxnSpLocks/>
          </p:cNvCxnSpPr>
          <p:nvPr/>
        </p:nvCxnSpPr>
        <p:spPr>
          <a:xfrm>
            <a:off x="7812395" y="4977142"/>
            <a:ext cx="0" cy="1667107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ett linje 14">
            <a:extLst>
              <a:ext uri="{FF2B5EF4-FFF2-40B4-BE49-F238E27FC236}">
                <a16:creationId xmlns:a16="http://schemas.microsoft.com/office/drawing/2014/main" id="{127CAA39-E418-5FFD-7B8B-4F29E9967D1F}"/>
              </a:ext>
            </a:extLst>
          </p:cNvPr>
          <p:cNvCxnSpPr>
            <a:cxnSpLocks/>
          </p:cNvCxnSpPr>
          <p:nvPr/>
        </p:nvCxnSpPr>
        <p:spPr>
          <a:xfrm>
            <a:off x="4054362" y="4977141"/>
            <a:ext cx="0" cy="1667107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kstSylinder 16">
            <a:extLst>
              <a:ext uri="{FF2B5EF4-FFF2-40B4-BE49-F238E27FC236}">
                <a16:creationId xmlns:a16="http://schemas.microsoft.com/office/drawing/2014/main" id="{00AB560F-36E8-7453-110F-062D0331CAA6}"/>
              </a:ext>
            </a:extLst>
          </p:cNvPr>
          <p:cNvSpPr txBox="1"/>
          <p:nvPr/>
        </p:nvSpPr>
        <p:spPr>
          <a:xfrm>
            <a:off x="738241" y="4977141"/>
            <a:ext cx="2577880" cy="166199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4400">
                <a:solidFill>
                  <a:srgbClr val="F4FFAF"/>
                </a:solidFill>
                <a:latin typeface="+mj-lt"/>
                <a:ea typeface="+mj-ea"/>
                <a:cs typeface="+mj-cs"/>
              </a:rPr>
              <a:t>~10,000</a:t>
            </a:r>
          </a:p>
          <a:p>
            <a:r>
              <a:rPr lang="en-GB" sz="1600" b="1" err="1">
                <a:solidFill>
                  <a:srgbClr val="F4FFAF"/>
                </a:solidFill>
                <a:latin typeface="+mj-lt"/>
                <a:ea typeface="+mj-ea"/>
                <a:cs typeface="+mj-cs"/>
              </a:rPr>
              <a:t>forespørsler</a:t>
            </a:r>
            <a:r>
              <a:rPr lang="en-GB" sz="1600" b="1">
                <a:solidFill>
                  <a:srgbClr val="F4FFAF"/>
                </a:solidFill>
                <a:latin typeface="+mj-lt"/>
                <a:ea typeface="+mj-ea"/>
                <a:cs typeface="+mj-cs"/>
              </a:rPr>
              <a:t> om </a:t>
            </a:r>
            <a:r>
              <a:rPr lang="en-GB" sz="1600" b="1" err="1">
                <a:solidFill>
                  <a:srgbClr val="F4FFAF"/>
                </a:solidFill>
                <a:latin typeface="+mj-lt"/>
                <a:ea typeface="+mj-ea"/>
                <a:cs typeface="+mj-cs"/>
              </a:rPr>
              <a:t>datauttak</a:t>
            </a:r>
            <a:r>
              <a:rPr lang="en-GB" sz="1600" b="1">
                <a:solidFill>
                  <a:srgbClr val="F4FFAF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GB" sz="1600" b="1" err="1">
                <a:solidFill>
                  <a:srgbClr val="F4FFAF"/>
                </a:solidFill>
                <a:latin typeface="+mj-lt"/>
                <a:ea typeface="+mj-ea"/>
                <a:cs typeface="+mj-cs"/>
              </a:rPr>
              <a:t>mottas</a:t>
            </a:r>
            <a:r>
              <a:rPr lang="en-GB" sz="1600" b="1">
                <a:solidFill>
                  <a:srgbClr val="F4FFAF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GB" sz="1600" b="1" err="1">
                <a:solidFill>
                  <a:srgbClr val="F4FFAF"/>
                </a:solidFill>
                <a:latin typeface="+mj-lt"/>
                <a:ea typeface="+mj-ea"/>
                <a:cs typeface="+mj-cs"/>
              </a:rPr>
              <a:t>og</a:t>
            </a:r>
            <a:r>
              <a:rPr lang="en-GB" sz="1600" b="1">
                <a:solidFill>
                  <a:srgbClr val="F4FFAF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GB" sz="1600" b="1" err="1">
                <a:solidFill>
                  <a:srgbClr val="F4FFAF"/>
                </a:solidFill>
                <a:latin typeface="+mj-lt"/>
                <a:ea typeface="+mj-ea"/>
                <a:cs typeface="+mj-cs"/>
              </a:rPr>
              <a:t>behandles</a:t>
            </a:r>
            <a:r>
              <a:rPr lang="en-GB" sz="1600" b="1">
                <a:solidFill>
                  <a:srgbClr val="F4FFAF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GB" sz="1600" b="1" err="1">
                <a:solidFill>
                  <a:srgbClr val="F4FFAF"/>
                </a:solidFill>
                <a:latin typeface="+mj-lt"/>
                <a:ea typeface="+mj-ea"/>
                <a:cs typeface="+mj-cs"/>
              </a:rPr>
              <a:t>av</a:t>
            </a:r>
            <a:r>
              <a:rPr lang="en-GB" sz="1600" b="1">
                <a:solidFill>
                  <a:srgbClr val="F4FFAF"/>
                </a:solidFill>
                <a:latin typeface="+mj-lt"/>
                <a:ea typeface="+mj-ea"/>
                <a:cs typeface="+mj-cs"/>
              </a:rPr>
              <a:t> data </a:t>
            </a:r>
            <a:r>
              <a:rPr lang="en-GB" sz="1600" b="1" err="1">
                <a:solidFill>
                  <a:srgbClr val="F4FFAF"/>
                </a:solidFill>
                <a:latin typeface="+mj-lt"/>
                <a:ea typeface="+mj-ea"/>
                <a:cs typeface="+mj-cs"/>
              </a:rPr>
              <a:t>scientistene</a:t>
            </a:r>
            <a:r>
              <a:rPr lang="en-GB" sz="1600" b="1">
                <a:solidFill>
                  <a:srgbClr val="F4FFAF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GB" sz="1600" b="1" err="1">
                <a:solidFill>
                  <a:srgbClr val="F4FFAF"/>
                </a:solidFill>
                <a:latin typeface="+mj-lt"/>
                <a:ea typeface="+mj-ea"/>
                <a:cs typeface="+mj-cs"/>
              </a:rPr>
              <a:t>våre</a:t>
            </a:r>
            <a:r>
              <a:rPr lang="en-GB" sz="1600" b="1">
                <a:solidFill>
                  <a:srgbClr val="F4FFAF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GB" sz="1600" b="1" err="1">
                <a:solidFill>
                  <a:srgbClr val="F4FFAF"/>
                </a:solidFill>
                <a:latin typeface="+mj-lt"/>
                <a:ea typeface="+mj-ea"/>
                <a:cs typeface="+mj-cs"/>
              </a:rPr>
              <a:t>hvert</a:t>
            </a:r>
            <a:r>
              <a:rPr lang="en-GB" sz="1600" b="1">
                <a:solidFill>
                  <a:srgbClr val="F4FFAF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GB" sz="1600" b="1" err="1">
                <a:solidFill>
                  <a:srgbClr val="F4FFAF"/>
                </a:solidFill>
                <a:latin typeface="+mj-lt"/>
                <a:ea typeface="+mj-ea"/>
                <a:cs typeface="+mj-cs"/>
              </a:rPr>
              <a:t>år</a:t>
            </a:r>
            <a:r>
              <a:rPr lang="en-GB" sz="1600" b="1">
                <a:solidFill>
                  <a:srgbClr val="F4FFAF"/>
                </a:solidFill>
                <a:latin typeface="+mj-lt"/>
                <a:ea typeface="+mj-ea"/>
                <a:cs typeface="+mj-cs"/>
              </a:rPr>
              <a:t> </a:t>
            </a:r>
            <a:endParaRPr lang="en-GB" sz="1600">
              <a:solidFill>
                <a:srgbClr val="F4FFAF"/>
              </a:solidFill>
              <a:latin typeface="+mj-lt"/>
              <a:ea typeface="Gjensidige Display"/>
              <a:cs typeface="+mj-cs"/>
            </a:endParaRPr>
          </a:p>
        </p:txBody>
      </p:sp>
      <p:sp>
        <p:nvSpPr>
          <p:cNvPr id="18" name="TekstSylinder 17">
            <a:extLst>
              <a:ext uri="{FF2B5EF4-FFF2-40B4-BE49-F238E27FC236}">
                <a16:creationId xmlns:a16="http://schemas.microsoft.com/office/drawing/2014/main" id="{84A5DB8B-D241-1713-D902-7660F32365F4}"/>
              </a:ext>
            </a:extLst>
          </p:cNvPr>
          <p:cNvSpPr txBox="1"/>
          <p:nvPr/>
        </p:nvSpPr>
        <p:spPr>
          <a:xfrm>
            <a:off x="4895586" y="4932549"/>
            <a:ext cx="2577876" cy="141577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nb-NO" sz="4400">
                <a:solidFill>
                  <a:srgbClr val="F4FFAF"/>
                </a:solidFill>
                <a:latin typeface="+mj-lt"/>
                <a:ea typeface="+mj-ea"/>
                <a:cs typeface="+mj-cs"/>
              </a:rPr>
              <a:t>~2.5</a:t>
            </a:r>
          </a:p>
          <a:p>
            <a:pPr algn="l"/>
            <a:r>
              <a:rPr lang="nb-NO" sz="1600">
                <a:solidFill>
                  <a:srgbClr val="F4FFAF"/>
                </a:solidFill>
                <a:latin typeface="+mj-lt"/>
                <a:ea typeface="+mj-ea"/>
                <a:cs typeface="+mj-cs"/>
              </a:rPr>
              <a:t>Utvekslinger i snitt per henvendelse for å avklare det faktiske behovet </a:t>
            </a:r>
          </a:p>
        </p:txBody>
      </p:sp>
      <p:sp>
        <p:nvSpPr>
          <p:cNvPr id="19" name="TekstSylinder 18">
            <a:extLst>
              <a:ext uri="{FF2B5EF4-FFF2-40B4-BE49-F238E27FC236}">
                <a16:creationId xmlns:a16="http://schemas.microsoft.com/office/drawing/2014/main" id="{05D12787-FBEB-EF7B-3D6E-BA69A0B8E46C}"/>
              </a:ext>
            </a:extLst>
          </p:cNvPr>
          <p:cNvSpPr txBox="1"/>
          <p:nvPr/>
        </p:nvSpPr>
        <p:spPr>
          <a:xfrm>
            <a:off x="8715479" y="4977141"/>
            <a:ext cx="2388721" cy="141577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GB" sz="4400">
                <a:solidFill>
                  <a:srgbClr val="F4FFAF"/>
                </a:solidFill>
                <a:latin typeface="+mj-lt"/>
                <a:ea typeface="+mj-ea"/>
                <a:cs typeface="+mj-cs"/>
              </a:rPr>
              <a:t>~5,000</a:t>
            </a:r>
          </a:p>
          <a:p>
            <a:pPr algn="l"/>
            <a:r>
              <a:rPr lang="en-GB" sz="1600" err="1">
                <a:solidFill>
                  <a:srgbClr val="F4FFAF"/>
                </a:solidFill>
                <a:latin typeface="+mj-lt"/>
                <a:ea typeface="+mj-ea"/>
                <a:cs typeface="+mj-cs"/>
              </a:rPr>
              <a:t>estimerte</a:t>
            </a:r>
            <a:r>
              <a:rPr lang="en-GB" sz="1600">
                <a:solidFill>
                  <a:srgbClr val="F4FFAF"/>
                </a:solidFill>
                <a:latin typeface="+mj-lt"/>
                <a:ea typeface="+mj-ea"/>
                <a:cs typeface="+mj-cs"/>
              </a:rPr>
              <a:t> timer </a:t>
            </a:r>
            <a:r>
              <a:rPr lang="en-GB" sz="1600" err="1">
                <a:solidFill>
                  <a:srgbClr val="F4FFAF"/>
                </a:solidFill>
                <a:latin typeface="+mj-lt"/>
                <a:ea typeface="+mj-ea"/>
                <a:cs typeface="+mj-cs"/>
              </a:rPr>
              <a:t>som</a:t>
            </a:r>
            <a:r>
              <a:rPr lang="en-GB" sz="1600">
                <a:solidFill>
                  <a:srgbClr val="F4FFAF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GB" sz="1600" err="1">
                <a:solidFill>
                  <a:srgbClr val="F4FFAF"/>
                </a:solidFill>
                <a:latin typeface="+mj-lt"/>
                <a:ea typeface="+mj-ea"/>
                <a:cs typeface="+mj-cs"/>
              </a:rPr>
              <a:t>går</a:t>
            </a:r>
            <a:r>
              <a:rPr lang="en-GB" sz="1600">
                <a:solidFill>
                  <a:srgbClr val="F4FFAF"/>
                </a:solidFill>
                <a:latin typeface="+mj-lt"/>
                <a:ea typeface="+mj-ea"/>
                <a:cs typeface="+mj-cs"/>
              </a:rPr>
              <a:t> med </a:t>
            </a:r>
            <a:r>
              <a:rPr lang="en-GB" sz="1600" err="1">
                <a:solidFill>
                  <a:srgbClr val="F4FFAF"/>
                </a:solidFill>
                <a:latin typeface="+mj-lt"/>
                <a:ea typeface="+mj-ea"/>
                <a:cs typeface="+mj-cs"/>
              </a:rPr>
              <a:t>totalt</a:t>
            </a:r>
            <a:r>
              <a:rPr lang="en-GB" sz="1600">
                <a:solidFill>
                  <a:srgbClr val="F4FFAF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GB" sz="1600" err="1">
                <a:solidFill>
                  <a:srgbClr val="F4FFAF"/>
                </a:solidFill>
                <a:latin typeface="+mj-lt"/>
                <a:ea typeface="+mj-ea"/>
                <a:cs typeface="+mj-cs"/>
              </a:rPr>
              <a:t>på</a:t>
            </a:r>
            <a:r>
              <a:rPr lang="en-GB" sz="1600">
                <a:solidFill>
                  <a:srgbClr val="F4FFAF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GB" sz="1600" err="1">
                <a:solidFill>
                  <a:srgbClr val="F4FFAF"/>
                </a:solidFill>
                <a:latin typeface="+mj-lt"/>
                <a:ea typeface="+mj-ea"/>
                <a:cs typeface="+mj-cs"/>
              </a:rPr>
              <a:t>uttrekksjobben</a:t>
            </a:r>
            <a:endParaRPr lang="en-GB" sz="1600">
              <a:solidFill>
                <a:srgbClr val="F4FFAF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0877362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5E66D36C-2DCE-5D1D-7AC6-226C6B8FE72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1AB329A8-1793-C8C5-CB8E-5A38EE21A84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nb-NO" smtClean="0"/>
              <a:t>8</a:t>
            </a:fld>
            <a:endParaRPr lang="nb-NO"/>
          </a:p>
        </p:txBody>
      </p:sp>
      <p:pic>
        <p:nvPicPr>
          <p:cNvPr id="11" name="Plassholder for bilde 8">
            <a:extLst>
              <a:ext uri="{FF2B5EF4-FFF2-40B4-BE49-F238E27FC236}">
                <a16:creationId xmlns:a16="http://schemas.microsoft.com/office/drawing/2014/main" id="{712E456E-F3A9-9233-A8D2-329A0C3ECDD1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" r="6"/>
          <a:stretch/>
        </p:blipFill>
        <p:spPr>
          <a:xfrm>
            <a:off x="0" y="0"/>
            <a:ext cx="12192000" cy="6858794"/>
          </a:xfrm>
          <a:noFill/>
        </p:spPr>
      </p:pic>
      <p:sp>
        <p:nvSpPr>
          <p:cNvPr id="9" name="Plassholder for tekst 8">
            <a:extLst>
              <a:ext uri="{FF2B5EF4-FFF2-40B4-BE49-F238E27FC236}">
                <a16:creationId xmlns:a16="http://schemas.microsoft.com/office/drawing/2014/main" id="{AEBCCD8D-858D-DB30-24B2-F1603DA21FA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nb-NO" noProof="0"/>
              <a:t>Meet Eglev – An example of rapid LLM prototyping</a:t>
            </a: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B1055AC1-EFA3-AAC5-2807-4304670E29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2689" y="2683545"/>
            <a:ext cx="11706622" cy="3922966"/>
          </a:xfrm>
        </p:spPr>
        <p:txBody>
          <a:bodyPr/>
          <a:lstStyle/>
          <a:p>
            <a:r>
              <a:rPr lang="nb-NO" sz="7200" noProof="0" dirty="0"/>
              <a:t>Møt </a:t>
            </a:r>
            <a:r>
              <a:rPr lang="nb-NO" sz="7200" noProof="0" dirty="0" err="1"/>
              <a:t>Eglev</a:t>
            </a:r>
            <a:r>
              <a:rPr lang="nb-NO" sz="7200" noProof="0" dirty="0"/>
              <a:t> – vår AI analytiker</a:t>
            </a:r>
          </a:p>
        </p:txBody>
      </p:sp>
    </p:spTree>
    <p:extLst>
      <p:ext uri="{BB962C8B-B14F-4D97-AF65-F5344CB8AC3E}">
        <p14:creationId xmlns:p14="http://schemas.microsoft.com/office/powerpoint/2010/main" val="1513698947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C526D84-12F1-D407-3520-63F774241B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3200" noProof="0" dirty="0">
                <a:solidFill>
                  <a:srgbClr val="090C33"/>
                </a:solidFill>
                <a:latin typeface="+mj-lt"/>
                <a:ea typeface="+mj-lt"/>
                <a:cs typeface="+mj-lt"/>
              </a:rPr>
              <a:t>Målet er å forbedre datatilgjengelighet i Gjensidige</a:t>
            </a:r>
            <a:endParaRPr lang="nb-NO" noProof="0" dirty="0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48F70E8-6926-66A1-DE2A-813A98687D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4768" y="1951200"/>
            <a:ext cx="4974831" cy="3888000"/>
          </a:xfrm>
          <a:ln w="57150">
            <a:noFill/>
          </a:ln>
        </p:spPr>
        <p:txBody>
          <a:bodyPr anchor="ctr"/>
          <a:lstStyle/>
          <a:p>
            <a:pPr marL="0" indent="0">
              <a:buNone/>
            </a:pPr>
            <a:endParaRPr lang="en-GB" b="1" noProof="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GB" sz="1600" b="1" noProof="0" dirty="0" err="1">
                <a:solidFill>
                  <a:schemeClr val="tx1"/>
                </a:solidFill>
              </a:rPr>
              <a:t>Eglev</a:t>
            </a:r>
            <a:r>
              <a:rPr lang="en-GB" sz="1600" b="1" noProof="0" dirty="0">
                <a:solidFill>
                  <a:schemeClr val="tx1"/>
                </a:solidFill>
              </a:rPr>
              <a:t> </a:t>
            </a:r>
            <a:r>
              <a:rPr lang="en-GB" sz="1600" b="1" noProof="0" dirty="0" err="1">
                <a:solidFill>
                  <a:schemeClr val="tx1"/>
                </a:solidFill>
              </a:rPr>
              <a:t>skal</a:t>
            </a:r>
            <a:r>
              <a:rPr lang="en-GB" sz="1600" b="1" noProof="0" dirty="0">
                <a:solidFill>
                  <a:schemeClr val="tx1"/>
                </a:solidFill>
              </a:rPr>
              <a:t>: </a:t>
            </a:r>
          </a:p>
          <a:p>
            <a:pPr marL="0" indent="0">
              <a:buNone/>
            </a:pPr>
            <a:endParaRPr lang="en-GB" sz="1400" noProof="0" dirty="0">
              <a:solidFill>
                <a:schemeClr val="tx1"/>
              </a:solidFill>
            </a:endParaRPr>
          </a:p>
          <a:p>
            <a:r>
              <a:rPr lang="en-GB" dirty="0">
                <a:solidFill>
                  <a:schemeClr val="tx1"/>
                </a:solidFill>
              </a:rPr>
              <a:t>Motta </a:t>
            </a:r>
            <a:r>
              <a:rPr lang="en-GB" dirty="0" err="1">
                <a:solidFill>
                  <a:schemeClr val="tx1"/>
                </a:solidFill>
              </a:rPr>
              <a:t>bestillinger</a:t>
            </a:r>
            <a:r>
              <a:rPr lang="en-GB" dirty="0">
                <a:solidFill>
                  <a:schemeClr val="tx1"/>
                </a:solidFill>
              </a:rPr>
              <a:t> for </a:t>
            </a:r>
            <a:r>
              <a:rPr lang="en-GB" dirty="0" err="1">
                <a:solidFill>
                  <a:schemeClr val="tx1"/>
                </a:solidFill>
              </a:rPr>
              <a:t>datauttak</a:t>
            </a:r>
            <a:endParaRPr lang="en-GB" dirty="0">
              <a:solidFill>
                <a:schemeClr val="tx1"/>
              </a:solidFill>
            </a:endParaRPr>
          </a:p>
          <a:p>
            <a:r>
              <a:rPr lang="en-GB" sz="1600" noProof="0" dirty="0" err="1">
                <a:solidFill>
                  <a:schemeClr val="tx1"/>
                </a:solidFill>
              </a:rPr>
              <a:t>Samhandle</a:t>
            </a:r>
            <a:r>
              <a:rPr lang="en-GB" sz="1600" noProof="0" dirty="0">
                <a:solidFill>
                  <a:schemeClr val="tx1"/>
                </a:solidFill>
              </a:rPr>
              <a:t> med </a:t>
            </a:r>
            <a:r>
              <a:rPr lang="en-GB" sz="1600" noProof="0" dirty="0" err="1">
                <a:solidFill>
                  <a:schemeClr val="tx1"/>
                </a:solidFill>
              </a:rPr>
              <a:t>brukere</a:t>
            </a:r>
            <a:r>
              <a:rPr lang="en-GB" sz="1600" noProof="0" dirty="0">
                <a:solidFill>
                  <a:schemeClr val="tx1"/>
                </a:solidFill>
              </a:rPr>
              <a:t> </a:t>
            </a:r>
            <a:r>
              <a:rPr lang="en-GB" sz="1600" noProof="0" dirty="0" err="1">
                <a:solidFill>
                  <a:schemeClr val="tx1"/>
                </a:solidFill>
              </a:rPr>
              <a:t>som</a:t>
            </a:r>
            <a:r>
              <a:rPr lang="en-GB" sz="1600" noProof="0" dirty="0">
                <a:solidFill>
                  <a:schemeClr val="tx1"/>
                </a:solidFill>
              </a:rPr>
              <a:t> om ma</a:t>
            </a:r>
            <a:r>
              <a:rPr lang="en-GB" dirty="0">
                <a:solidFill>
                  <a:schemeClr val="tx1"/>
                </a:solidFill>
              </a:rPr>
              <a:t>n </a:t>
            </a:r>
            <a:r>
              <a:rPr lang="en-GB" dirty="0" err="1">
                <a:solidFill>
                  <a:schemeClr val="tx1"/>
                </a:solidFill>
              </a:rPr>
              <a:t>snakker</a:t>
            </a:r>
            <a:r>
              <a:rPr lang="en-GB" dirty="0">
                <a:solidFill>
                  <a:schemeClr val="tx1"/>
                </a:solidFill>
              </a:rPr>
              <a:t> med </a:t>
            </a:r>
            <a:r>
              <a:rPr lang="en-GB" dirty="0" err="1">
                <a:solidFill>
                  <a:schemeClr val="tx1"/>
                </a:solidFill>
              </a:rPr>
              <a:t>en</a:t>
            </a:r>
            <a:r>
              <a:rPr lang="en-GB" dirty="0">
                <a:solidFill>
                  <a:schemeClr val="tx1"/>
                </a:solidFill>
              </a:rPr>
              <a:t> </a:t>
            </a:r>
            <a:r>
              <a:rPr lang="en-GB" dirty="0" err="1">
                <a:solidFill>
                  <a:schemeClr val="tx1"/>
                </a:solidFill>
              </a:rPr>
              <a:t>kollega</a:t>
            </a:r>
            <a:endParaRPr lang="en-GB" dirty="0">
              <a:solidFill>
                <a:schemeClr val="tx1"/>
              </a:solidFill>
            </a:endParaRPr>
          </a:p>
          <a:p>
            <a:r>
              <a:rPr lang="en-GB" sz="1600" noProof="0" dirty="0">
                <a:solidFill>
                  <a:schemeClr val="tx1"/>
                </a:solidFill>
              </a:rPr>
              <a:t>Kunne </a:t>
            </a:r>
            <a:r>
              <a:rPr lang="en-GB" sz="1600" noProof="0" dirty="0" err="1">
                <a:solidFill>
                  <a:schemeClr val="tx1"/>
                </a:solidFill>
              </a:rPr>
              <a:t>strukturen</a:t>
            </a:r>
            <a:r>
              <a:rPr lang="en-GB" sz="1600" noProof="0" dirty="0">
                <a:solidFill>
                  <a:schemeClr val="tx1"/>
                </a:solidFill>
              </a:rPr>
              <a:t>, for</a:t>
            </a:r>
            <a:r>
              <a:rPr lang="en-GB" dirty="0" err="1">
                <a:solidFill>
                  <a:schemeClr val="tx1"/>
                </a:solidFill>
              </a:rPr>
              <a:t>bindelser</a:t>
            </a:r>
            <a:r>
              <a:rPr lang="en-GB" dirty="0">
                <a:solidFill>
                  <a:schemeClr val="tx1"/>
                </a:solidFill>
              </a:rPr>
              <a:t>, </a:t>
            </a:r>
            <a:r>
              <a:rPr lang="en-GB" dirty="0" err="1">
                <a:solidFill>
                  <a:schemeClr val="tx1"/>
                </a:solidFill>
              </a:rPr>
              <a:t>og</a:t>
            </a:r>
            <a:r>
              <a:rPr lang="en-GB" dirty="0">
                <a:solidFill>
                  <a:schemeClr val="tx1"/>
                </a:solidFill>
              </a:rPr>
              <a:t> </a:t>
            </a:r>
            <a:r>
              <a:rPr lang="en-GB" dirty="0" err="1">
                <a:solidFill>
                  <a:schemeClr val="tx1"/>
                </a:solidFill>
              </a:rPr>
              <a:t>muligheter</a:t>
            </a:r>
            <a:r>
              <a:rPr lang="en-GB" dirty="0">
                <a:solidFill>
                  <a:schemeClr val="tx1"/>
                </a:solidFill>
              </a:rPr>
              <a:t> </a:t>
            </a:r>
            <a:r>
              <a:rPr lang="en-GB" dirty="0" err="1">
                <a:solidFill>
                  <a:schemeClr val="tx1"/>
                </a:solidFill>
              </a:rPr>
              <a:t>tilgjengelig</a:t>
            </a:r>
            <a:r>
              <a:rPr lang="en-GB" dirty="0">
                <a:solidFill>
                  <a:schemeClr val="tx1"/>
                </a:solidFill>
              </a:rPr>
              <a:t> </a:t>
            </a:r>
            <a:r>
              <a:rPr lang="en-GB" dirty="0" err="1">
                <a:solidFill>
                  <a:schemeClr val="tx1"/>
                </a:solidFill>
              </a:rPr>
              <a:t>i</a:t>
            </a:r>
            <a:r>
              <a:rPr lang="en-GB" dirty="0">
                <a:solidFill>
                  <a:schemeClr val="tx1"/>
                </a:solidFill>
              </a:rPr>
              <a:t> </a:t>
            </a:r>
            <a:r>
              <a:rPr lang="en-GB" dirty="0" err="1">
                <a:solidFill>
                  <a:schemeClr val="tx1"/>
                </a:solidFill>
              </a:rPr>
              <a:t>datavarehuset</a:t>
            </a:r>
            <a:r>
              <a:rPr lang="en-GB" dirty="0">
                <a:solidFill>
                  <a:schemeClr val="tx1"/>
                </a:solidFill>
              </a:rPr>
              <a:t> </a:t>
            </a:r>
            <a:r>
              <a:rPr lang="en-GB" dirty="0" err="1">
                <a:solidFill>
                  <a:schemeClr val="tx1"/>
                </a:solidFill>
              </a:rPr>
              <a:t>vårt</a:t>
            </a:r>
            <a:endParaRPr lang="en-GB" sz="1600" noProof="0" dirty="0">
              <a:solidFill>
                <a:schemeClr val="tx1"/>
              </a:solidFill>
            </a:endParaRPr>
          </a:p>
          <a:p>
            <a:r>
              <a:rPr lang="en-GB" dirty="0" err="1">
                <a:solidFill>
                  <a:schemeClr val="tx1"/>
                </a:solidFill>
              </a:rPr>
              <a:t>Skrive</a:t>
            </a:r>
            <a:r>
              <a:rPr lang="en-GB" dirty="0">
                <a:solidFill>
                  <a:schemeClr val="tx1"/>
                </a:solidFill>
              </a:rPr>
              <a:t> </a:t>
            </a:r>
            <a:r>
              <a:rPr lang="en-GB" dirty="0" err="1">
                <a:solidFill>
                  <a:schemeClr val="tx1"/>
                </a:solidFill>
              </a:rPr>
              <a:t>og</a:t>
            </a:r>
            <a:r>
              <a:rPr lang="en-GB" dirty="0">
                <a:solidFill>
                  <a:schemeClr val="tx1"/>
                </a:solidFill>
              </a:rPr>
              <a:t> </a:t>
            </a:r>
            <a:r>
              <a:rPr lang="en-GB" dirty="0" err="1">
                <a:solidFill>
                  <a:schemeClr val="tx1"/>
                </a:solidFill>
              </a:rPr>
              <a:t>kjøre</a:t>
            </a:r>
            <a:r>
              <a:rPr lang="en-GB" dirty="0">
                <a:solidFill>
                  <a:schemeClr val="tx1"/>
                </a:solidFill>
              </a:rPr>
              <a:t> </a:t>
            </a:r>
            <a:r>
              <a:rPr lang="en-GB" dirty="0" err="1">
                <a:solidFill>
                  <a:schemeClr val="tx1"/>
                </a:solidFill>
              </a:rPr>
              <a:t>effektiv</a:t>
            </a:r>
            <a:r>
              <a:rPr lang="en-GB" dirty="0">
                <a:solidFill>
                  <a:schemeClr val="tx1"/>
                </a:solidFill>
              </a:rPr>
              <a:t> </a:t>
            </a:r>
            <a:r>
              <a:rPr lang="en-GB" dirty="0" err="1">
                <a:solidFill>
                  <a:schemeClr val="tx1"/>
                </a:solidFill>
              </a:rPr>
              <a:t>kode</a:t>
            </a:r>
            <a:r>
              <a:rPr lang="en-GB" dirty="0">
                <a:solidFill>
                  <a:schemeClr val="tx1"/>
                </a:solidFill>
              </a:rPr>
              <a:t> (SQL) </a:t>
            </a:r>
            <a:r>
              <a:rPr lang="en-GB" dirty="0" err="1">
                <a:solidFill>
                  <a:schemeClr val="tx1"/>
                </a:solidFill>
              </a:rPr>
              <a:t>direkte</a:t>
            </a:r>
            <a:r>
              <a:rPr lang="en-GB" dirty="0">
                <a:solidFill>
                  <a:schemeClr val="tx1"/>
                </a:solidFill>
              </a:rPr>
              <a:t> mot </a:t>
            </a:r>
            <a:r>
              <a:rPr lang="en-GB" dirty="0" err="1">
                <a:solidFill>
                  <a:schemeClr val="tx1"/>
                </a:solidFill>
              </a:rPr>
              <a:t>datavarehuset</a:t>
            </a:r>
            <a:r>
              <a:rPr lang="en-GB" dirty="0">
                <a:solidFill>
                  <a:schemeClr val="tx1"/>
                </a:solidFill>
              </a:rPr>
              <a:t> </a:t>
            </a:r>
            <a:r>
              <a:rPr lang="en-GB" dirty="0" err="1">
                <a:solidFill>
                  <a:schemeClr val="tx1"/>
                </a:solidFill>
              </a:rPr>
              <a:t>vår</a:t>
            </a:r>
            <a:r>
              <a:rPr lang="en-GB" dirty="0">
                <a:solidFill>
                  <a:schemeClr val="tx1"/>
                </a:solidFill>
              </a:rPr>
              <a:t> </a:t>
            </a:r>
            <a:r>
              <a:rPr lang="en-GB" dirty="0" err="1">
                <a:solidFill>
                  <a:schemeClr val="tx1"/>
                </a:solidFill>
              </a:rPr>
              <a:t>i</a:t>
            </a:r>
            <a:r>
              <a:rPr lang="en-GB" dirty="0">
                <a:solidFill>
                  <a:schemeClr val="tx1"/>
                </a:solidFill>
              </a:rPr>
              <a:t> real-time</a:t>
            </a:r>
            <a:endParaRPr lang="en-GB" sz="1600" noProof="0" dirty="0">
              <a:solidFill>
                <a:schemeClr val="tx1"/>
              </a:solidFill>
            </a:endParaRPr>
          </a:p>
          <a:p>
            <a:r>
              <a:rPr lang="nb-NO" dirty="0">
                <a:solidFill>
                  <a:schemeClr val="tx1"/>
                </a:solidFill>
              </a:rPr>
              <a:t>Vise fram resultatene fra datauttak på en brukervennlig måte</a:t>
            </a:r>
            <a:endParaRPr lang="nb-NO" sz="1600" noProof="0" dirty="0">
              <a:solidFill>
                <a:schemeClr val="tx1"/>
              </a:solidFill>
            </a:endParaRPr>
          </a:p>
        </p:txBody>
      </p:sp>
      <p:sp>
        <p:nvSpPr>
          <p:cNvPr id="10" name="Plassholder for tekst 9">
            <a:extLst>
              <a:ext uri="{FF2B5EF4-FFF2-40B4-BE49-F238E27FC236}">
                <a16:creationId xmlns:a16="http://schemas.microsoft.com/office/drawing/2014/main" id="{2B39914F-C0A8-7BAA-D176-9F55C208BD8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>
            <a:extLst>
              <a:ext uri="{FF2B5EF4-FFF2-40B4-BE49-F238E27FC236}">
                <a16:creationId xmlns:a16="http://schemas.microsoft.com/office/drawing/2014/main" id="{F53677A9-249D-DFDE-0EE0-D906B93B38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Gjensidige Forsikring Group</a:t>
            </a:r>
          </a:p>
        </p:txBody>
      </p:sp>
      <p:sp>
        <p:nvSpPr>
          <p:cNvPr id="8" name="Plassholder for lysbildenummer 7">
            <a:extLst>
              <a:ext uri="{FF2B5EF4-FFF2-40B4-BE49-F238E27FC236}">
                <a16:creationId xmlns:a16="http://schemas.microsoft.com/office/drawing/2014/main" id="{C9B00131-B76D-DDDC-39B2-BCAA3FA84E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nb-NO" smtClean="0"/>
              <a:t>9</a:t>
            </a:fld>
            <a:endParaRPr lang="nb-NO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4B5683C7-1CF4-5D4B-7A97-85BA524DB04B}"/>
              </a:ext>
            </a:extLst>
          </p:cNvPr>
          <p:cNvSpPr/>
          <p:nvPr/>
        </p:nvSpPr>
        <p:spPr>
          <a:xfrm>
            <a:off x="447429" y="1951200"/>
            <a:ext cx="5169600" cy="3888000"/>
          </a:xfrm>
          <a:prstGeom prst="rect">
            <a:avLst/>
          </a:prstGeom>
          <a:noFill/>
          <a:ln w="76200">
            <a:solidFill>
              <a:schemeClr val="accent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0" tIns="270000" rIns="270000" bIns="270000" rtlCol="0" anchor="ctr"/>
          <a:lstStyle/>
          <a:p>
            <a:pPr algn="ctr"/>
            <a:endParaRPr lang="nb-NO" sz="1600" noProof="0">
              <a:solidFill>
                <a:schemeClr val="bg1"/>
              </a:solidFill>
            </a:endParaRPr>
          </a:p>
        </p:txBody>
      </p:sp>
      <p:grpSp>
        <p:nvGrpSpPr>
          <p:cNvPr id="13" name="Gruppe 12">
            <a:extLst>
              <a:ext uri="{FF2B5EF4-FFF2-40B4-BE49-F238E27FC236}">
                <a16:creationId xmlns:a16="http://schemas.microsoft.com/office/drawing/2014/main" id="{7966D6E5-9426-87E1-3D0C-06318B0DEA69}"/>
              </a:ext>
            </a:extLst>
          </p:cNvPr>
          <p:cNvGrpSpPr/>
          <p:nvPr/>
        </p:nvGrpSpPr>
        <p:grpSpPr>
          <a:xfrm>
            <a:off x="6073201" y="2026827"/>
            <a:ext cx="5368040" cy="3472222"/>
            <a:chOff x="5853098" y="1614010"/>
            <a:chExt cx="6260056" cy="4003271"/>
          </a:xfrm>
        </p:grpSpPr>
        <p:pic>
          <p:nvPicPr>
            <p:cNvPr id="14" name="Picture 4" descr="Wire-frame open laptop. Front view. Vector illustration Stock Vector Image  &amp; Art - Alamy">
              <a:extLst>
                <a:ext uri="{FF2B5EF4-FFF2-40B4-BE49-F238E27FC236}">
                  <a16:creationId xmlns:a16="http://schemas.microsoft.com/office/drawing/2014/main" id="{BF0BD217-95AA-FF8C-A880-A80020DB074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2994" b="10609"/>
            <a:stretch/>
          </p:blipFill>
          <p:spPr bwMode="auto">
            <a:xfrm>
              <a:off x="5853098" y="1614010"/>
              <a:ext cx="6260056" cy="40032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lassholder for innhold 17" descr="Et bilde som inneholder tekst, skjermbilde, Font, nummer">
              <a:extLst>
                <a:ext uri="{FF2B5EF4-FFF2-40B4-BE49-F238E27FC236}">
                  <a16:creationId xmlns:a16="http://schemas.microsoft.com/office/drawing/2014/main" id="{04E20A29-4795-39EA-2709-F41F92B94AE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97980" y="1772707"/>
              <a:ext cx="4544819" cy="3149813"/>
            </a:xfrm>
            <a:prstGeom prst="rect">
              <a:avLst/>
            </a:prstGeom>
          </p:spPr>
        </p:pic>
      </p:grpSp>
      <p:sp>
        <p:nvSpPr>
          <p:cNvPr id="24" name="Undertittel 23">
            <a:extLst>
              <a:ext uri="{FF2B5EF4-FFF2-40B4-BE49-F238E27FC236}">
                <a16:creationId xmlns:a16="http://schemas.microsoft.com/office/drawing/2014/main" id="{992BF44B-4F0E-EF36-F496-A27B7F5F71C7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nb-NO" dirty="0"/>
              <a:t>Møt </a:t>
            </a:r>
            <a:r>
              <a:rPr lang="nb-NO" dirty="0" err="1"/>
              <a:t>Eglev</a:t>
            </a:r>
            <a:r>
              <a:rPr lang="nb-NO" dirty="0"/>
              <a:t> – vår LLM analytiker</a:t>
            </a:r>
          </a:p>
        </p:txBody>
      </p:sp>
    </p:spTree>
    <p:extLst>
      <p:ext uri="{BB962C8B-B14F-4D97-AF65-F5344CB8AC3E}">
        <p14:creationId xmlns:p14="http://schemas.microsoft.com/office/powerpoint/2010/main" val="28205316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jensidige PowerPoint Template">
  <a:themeElements>
    <a:clrScheme name="Gjensidige 2022">
      <a:dk1>
        <a:srgbClr val="000000"/>
      </a:dk1>
      <a:lt1>
        <a:srgbClr val="FFFFFF"/>
      </a:lt1>
      <a:dk2>
        <a:srgbClr val="090C33"/>
      </a:dk2>
      <a:lt2>
        <a:srgbClr val="F0EDEB"/>
      </a:lt2>
      <a:accent1>
        <a:srgbClr val="090C33"/>
      </a:accent1>
      <a:accent2>
        <a:srgbClr val="F4FFAF"/>
      </a:accent2>
      <a:accent3>
        <a:srgbClr val="7C55FF"/>
      </a:accent3>
      <a:accent4>
        <a:srgbClr val="50D7A5"/>
      </a:accent4>
      <a:accent5>
        <a:srgbClr val="A4C3FF"/>
      </a:accent5>
      <a:accent6>
        <a:srgbClr val="FF8083"/>
      </a:accent6>
      <a:hlink>
        <a:srgbClr val="7C55FF"/>
      </a:hlink>
      <a:folHlink>
        <a:srgbClr val="FF8083"/>
      </a:folHlink>
    </a:clrScheme>
    <a:fontScheme name="Gjensidige 2022">
      <a:majorFont>
        <a:latin typeface="Gjensidige Display"/>
        <a:ea typeface=""/>
        <a:cs typeface=""/>
      </a:majorFont>
      <a:minorFont>
        <a:latin typeface="Gjensidige Ty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270000" tIns="270000" rIns="270000" bIns="270000" rtlCol="0" anchor="ctr"/>
      <a:lstStyle>
        <a:defPPr algn="ctr">
          <a:defRPr sz="1600" noProof="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Dark Blue 700">
      <a:srgbClr val="090C33"/>
    </a:custClr>
    <a:custClr name="Purple 700">
      <a:srgbClr val="6325E7"/>
    </a:custClr>
    <a:custClr name="Color has no name">
      <a:srgbClr val="FFFFFF"/>
    </a:custClr>
    <a:custClr name="Green 700">
      <a:srgbClr val="008059"/>
    </a:custClr>
    <a:custClr name="Turquoise 700">
      <a:srgbClr val="429DA6"/>
    </a:custClr>
    <a:custClr name="Blue 700">
      <a:srgbClr val="4263A6"/>
    </a:custClr>
    <a:custClr name="Pink 700">
      <a:srgbClr val="CC5C78"/>
    </a:custClr>
    <a:custClr name="Red 700">
      <a:srgbClr val="993D43"/>
    </a:custClr>
    <a:custClr name="Orange 700">
      <a:srgbClr val="B27150"/>
    </a:custClr>
    <a:custClr name="Brown 700">
      <a:srgbClr val="59524F"/>
    </a:custClr>
    <a:custClr name="Dark Blue 600">
      <a:srgbClr val="393F66"/>
    </a:custClr>
    <a:custClr name="Purple 600">
      <a:srgbClr val="7C55FF"/>
    </a:custClr>
    <a:custClr name="Color has no name">
      <a:srgbClr val="FFFFFF"/>
    </a:custClr>
    <a:custClr name="Green 600">
      <a:srgbClr val="0FA673"/>
    </a:custClr>
    <a:custClr name="Turquoise 600">
      <a:srgbClr val="64C5CD"/>
    </a:custClr>
    <a:custClr name="Blue 600">
      <a:srgbClr val="678BD2"/>
    </a:custClr>
    <a:custClr name="Pink 600">
      <a:srgbClr val="E48095"/>
    </a:custClr>
    <a:custClr name="Red 600">
      <a:srgbClr val="CC474F"/>
    </a:custClr>
    <a:custClr name="Orange 600">
      <a:srgbClr val="D98962"/>
    </a:custClr>
    <a:custClr name="Brown ">
      <a:srgbClr val="807874"/>
    </a:custClr>
    <a:custClr name="Dark Blue 500">
      <a:srgbClr val="61698F"/>
    </a:custClr>
    <a:custClr name="Purple 500">
      <a:srgbClr val="9677FF"/>
    </a:custClr>
    <a:custClr name="Yellow 300">
      <a:srgbClr val="EEFF76"/>
    </a:custClr>
    <a:custClr name="Green 500">
      <a:srgbClr val="1FCC8C"/>
    </a:custClr>
    <a:custClr name="Turquoise 500">
      <a:srgbClr val="82E4ED"/>
    </a:custClr>
    <a:custClr name="Blue 500">
      <a:srgbClr val="8CB2FF"/>
    </a:custClr>
    <a:custClr name="Pink 500">
      <a:srgbClr val="FCA4B3"/>
    </a:custClr>
    <a:custClr name="Red 500">
      <a:srgbClr val="FA5A62"/>
    </a:custClr>
    <a:custClr name="Orange 500">
      <a:srgbClr val="FFA273"/>
    </a:custClr>
    <a:custClr name="Brown 500">
      <a:srgbClr val="A69D98"/>
    </a:custClr>
    <a:custClr name="Dark Blue 300">
      <a:srgbClr val="BAC3D9"/>
    </a:custClr>
    <a:custClr name="Purple 300">
      <a:srgbClr val="CBBBFF"/>
    </a:custClr>
    <a:custClr name="Yellow 200">
      <a:srgbClr val="F4FFAF"/>
    </a:custClr>
    <a:custClr name="Green 300">
      <a:srgbClr val="82E3BE"/>
    </a:custClr>
    <a:custClr name="Turquoise 300">
      <a:srgbClr val="B0F0F5"/>
    </a:custClr>
    <a:custClr name="Blue 300">
      <a:srgbClr val="BDD3FF"/>
    </a:custClr>
    <a:custClr name="Pink 300">
      <a:srgbClr val="FEC7D1"/>
    </a:custClr>
    <a:custClr name="Red 300">
      <a:srgbClr val="FFA8AA"/>
    </a:custClr>
    <a:custClr name="Orange 300">
      <a:srgbClr val="FFC8AC"/>
    </a:custClr>
    <a:custClr name="Brown 300">
      <a:srgbClr val="D0CAC7"/>
    </a:custClr>
    <a:custClr name="Dark Blue 100">
      <a:srgbClr val="EBF0FA"/>
    </a:custClr>
    <a:custClr name="Purple 100">
      <a:srgbClr val="EBE6FF"/>
    </a:custClr>
    <a:custClr name="Yellow 100">
      <a:srgbClr val="F9FFD7"/>
    </a:custClr>
    <a:custClr name="Green 100">
      <a:srgbClr val="D4F7E6"/>
    </a:custClr>
    <a:custClr name="Turquoise 100">
      <a:srgbClr val="D9F9FC"/>
    </a:custClr>
    <a:custClr name="Blue 100">
      <a:srgbClr val="E0EEFF"/>
    </a:custClr>
    <a:custClr name="Pink 100">
      <a:srgbClr val="FFE3EA"/>
    </a:custClr>
    <a:custClr name="Red 100">
      <a:srgbClr val="FFE2E2"/>
    </a:custClr>
    <a:custClr name="Orange 100">
      <a:srgbClr val="FFE7D9"/>
    </a:custClr>
    <a:custClr name="Brown 100">
      <a:srgbClr val="F0EDEB"/>
    </a:custClr>
  </a:custClrLst>
  <a:extLst>
    <a:ext uri="{05A4C25C-085E-4340-85A3-A5531E510DB2}">
      <thm15:themeFamily xmlns:thm15="http://schemas.microsoft.com/office/thememl/2012/main" name="Testing font GjensidigeSans embedded.pptx" id="{3C1EEA9A-2396-4744-AB9B-913D51BEFCEF}" vid="{3E2A821A-B532-409A-8A88-6103D736B62C}"/>
    </a:ext>
  </a:extLst>
</a:theme>
</file>

<file path=ppt/theme/theme2.xml><?xml version="1.0" encoding="utf-8"?>
<a:theme xmlns:a="http://schemas.openxmlformats.org/drawingml/2006/main" name="Office-tema">
  <a:themeElements>
    <a:clrScheme name="Gjensidige 2022">
      <a:dk1>
        <a:sysClr val="windowText" lastClr="000000"/>
      </a:dk1>
      <a:lt1>
        <a:sysClr val="window" lastClr="FFFFFF"/>
      </a:lt1>
      <a:dk2>
        <a:srgbClr val="090C33"/>
      </a:dk2>
      <a:lt2>
        <a:srgbClr val="F0EDEB"/>
      </a:lt2>
      <a:accent1>
        <a:srgbClr val="090C33"/>
      </a:accent1>
      <a:accent2>
        <a:srgbClr val="F4FFAF"/>
      </a:accent2>
      <a:accent3>
        <a:srgbClr val="7C55FF"/>
      </a:accent3>
      <a:accent4>
        <a:srgbClr val="50D7A5"/>
      </a:accent4>
      <a:accent5>
        <a:srgbClr val="A4C3FF"/>
      </a:accent5>
      <a:accent6>
        <a:srgbClr val="FF8083"/>
      </a:accent6>
      <a:hlink>
        <a:srgbClr val="7C55FF"/>
      </a:hlink>
      <a:folHlink>
        <a:srgbClr val="FF8083"/>
      </a:folHlink>
    </a:clrScheme>
    <a:fontScheme name="Gjensidige 2022">
      <a:majorFont>
        <a:latin typeface="Gjensidige Display"/>
        <a:ea typeface=""/>
        <a:cs typeface=""/>
      </a:majorFont>
      <a:minorFont>
        <a:latin typeface="Gjensidige Type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ark Blue 700">
      <a:srgbClr val="090C33"/>
    </a:custClr>
    <a:custClr name="Purple 700">
      <a:srgbClr val="6325E7"/>
    </a:custClr>
    <a:custClr name="Color has no name">
      <a:srgbClr val="FFFFFF"/>
    </a:custClr>
    <a:custClr name="Green 700">
      <a:srgbClr val="008059"/>
    </a:custClr>
    <a:custClr name="Turquoise 700">
      <a:srgbClr val="429DA6"/>
    </a:custClr>
    <a:custClr name="Blue 700">
      <a:srgbClr val="4263A6"/>
    </a:custClr>
    <a:custClr name="Pink 700">
      <a:srgbClr val="CC5C78"/>
    </a:custClr>
    <a:custClr name="Red 700">
      <a:srgbClr val="993D43"/>
    </a:custClr>
    <a:custClr name="Orange 700">
      <a:srgbClr val="B27150"/>
    </a:custClr>
    <a:custClr name="Brown 700">
      <a:srgbClr val="59524F"/>
    </a:custClr>
    <a:custClr name="Dark Blue 600">
      <a:srgbClr val="393F66"/>
    </a:custClr>
    <a:custClr name="Purple 600">
      <a:srgbClr val="7C55FF"/>
    </a:custClr>
    <a:custClr name="Color has no name">
      <a:srgbClr val="FFFFFF"/>
    </a:custClr>
    <a:custClr name="Green 600">
      <a:srgbClr val="0FA673"/>
    </a:custClr>
    <a:custClr name="Turquoise 600">
      <a:srgbClr val="64C5CD"/>
    </a:custClr>
    <a:custClr name="Blue 600">
      <a:srgbClr val="678BD2"/>
    </a:custClr>
    <a:custClr name="Pink 600">
      <a:srgbClr val="E48095"/>
    </a:custClr>
    <a:custClr name="Red 600">
      <a:srgbClr val="CC474F"/>
    </a:custClr>
    <a:custClr name="Orange 600">
      <a:srgbClr val="D98962"/>
    </a:custClr>
    <a:custClr name="Brown ">
      <a:srgbClr val="807874"/>
    </a:custClr>
    <a:custClr name="Dark Blue 500">
      <a:srgbClr val="61698F"/>
    </a:custClr>
    <a:custClr name="Purple 500">
      <a:srgbClr val="9677FF"/>
    </a:custClr>
    <a:custClr name="Yellow 300">
      <a:srgbClr val="EEFF76"/>
    </a:custClr>
    <a:custClr name="Green 500">
      <a:srgbClr val="1FCC8C"/>
    </a:custClr>
    <a:custClr name="Turquoise 500">
      <a:srgbClr val="82E4ED"/>
    </a:custClr>
    <a:custClr name="Blue 500">
      <a:srgbClr val="8CB2FF"/>
    </a:custClr>
    <a:custClr name="Pink 500">
      <a:srgbClr val="FCA4B3"/>
    </a:custClr>
    <a:custClr name="Red 500">
      <a:srgbClr val="FA5A62"/>
    </a:custClr>
    <a:custClr name="Orange 500">
      <a:srgbClr val="FFA273"/>
    </a:custClr>
    <a:custClr name="Brown 500">
      <a:srgbClr val="A69D98"/>
    </a:custClr>
    <a:custClr name="Dark Blue 300">
      <a:srgbClr val="BAC3D9"/>
    </a:custClr>
    <a:custClr name="Purple 300">
      <a:srgbClr val="CBBBFF"/>
    </a:custClr>
    <a:custClr name="Yellow 200">
      <a:srgbClr val="F4FFAF"/>
    </a:custClr>
    <a:custClr name="Green 300">
      <a:srgbClr val="82E3BE"/>
    </a:custClr>
    <a:custClr name="Turquoise 300">
      <a:srgbClr val="B0F0F5"/>
    </a:custClr>
    <a:custClr name="Blue 300">
      <a:srgbClr val="BDD3FF"/>
    </a:custClr>
    <a:custClr name="Pink 300">
      <a:srgbClr val="FEC7D1"/>
    </a:custClr>
    <a:custClr name="Red 300">
      <a:srgbClr val="FFA8AA"/>
    </a:custClr>
    <a:custClr name="Orange 300">
      <a:srgbClr val="FFC8AC"/>
    </a:custClr>
    <a:custClr name="Brown 300">
      <a:srgbClr val="D0CAC7"/>
    </a:custClr>
    <a:custClr name="Dark Blue 100">
      <a:srgbClr val="EBF0FA"/>
    </a:custClr>
    <a:custClr name="Purple 100">
      <a:srgbClr val="EBE6FF"/>
    </a:custClr>
    <a:custClr name="Yellow 100">
      <a:srgbClr val="F9FFD7"/>
    </a:custClr>
    <a:custClr name="Green 100">
      <a:srgbClr val="D4F7E6"/>
    </a:custClr>
    <a:custClr name="Turquoise 100">
      <a:srgbClr val="D9F9FC"/>
    </a:custClr>
    <a:custClr name="Blue 100">
      <a:srgbClr val="E0EEFF"/>
    </a:custClr>
    <a:custClr name="Pink 100">
      <a:srgbClr val="FFE3EA"/>
    </a:custClr>
    <a:custClr name="Red 100">
      <a:srgbClr val="FFE2E2"/>
    </a:custClr>
    <a:custClr name="Orange 100">
      <a:srgbClr val="FFE7D9"/>
    </a:custClr>
    <a:custClr name="Brown 100">
      <a:srgbClr val="F0EDEB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Gjensidige 2022">
      <a:dk1>
        <a:sysClr val="windowText" lastClr="000000"/>
      </a:dk1>
      <a:lt1>
        <a:sysClr val="window" lastClr="FFFFFF"/>
      </a:lt1>
      <a:dk2>
        <a:srgbClr val="090C33"/>
      </a:dk2>
      <a:lt2>
        <a:srgbClr val="F0EDEB"/>
      </a:lt2>
      <a:accent1>
        <a:srgbClr val="090C33"/>
      </a:accent1>
      <a:accent2>
        <a:srgbClr val="F4FFAF"/>
      </a:accent2>
      <a:accent3>
        <a:srgbClr val="7C55FF"/>
      </a:accent3>
      <a:accent4>
        <a:srgbClr val="50D7A5"/>
      </a:accent4>
      <a:accent5>
        <a:srgbClr val="A4C3FF"/>
      </a:accent5>
      <a:accent6>
        <a:srgbClr val="FF8083"/>
      </a:accent6>
      <a:hlink>
        <a:srgbClr val="7C55FF"/>
      </a:hlink>
      <a:folHlink>
        <a:srgbClr val="FF8083"/>
      </a:folHlink>
    </a:clrScheme>
    <a:fontScheme name="Gjensidige 2022">
      <a:majorFont>
        <a:latin typeface="Gjensidige Display"/>
        <a:ea typeface=""/>
        <a:cs typeface=""/>
      </a:majorFont>
      <a:minorFont>
        <a:latin typeface="Gjensidige Ty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ark Blue 700">
      <a:srgbClr val="090C33"/>
    </a:custClr>
    <a:custClr name="Purple 700">
      <a:srgbClr val="6325E7"/>
    </a:custClr>
    <a:custClr name="Color has no name">
      <a:srgbClr val="FFFFFF"/>
    </a:custClr>
    <a:custClr name="Green 700">
      <a:srgbClr val="008059"/>
    </a:custClr>
    <a:custClr name="Turquoise 700">
      <a:srgbClr val="429DA6"/>
    </a:custClr>
    <a:custClr name="Blue 700">
      <a:srgbClr val="4263A6"/>
    </a:custClr>
    <a:custClr name="Pink 700">
      <a:srgbClr val="CC5C78"/>
    </a:custClr>
    <a:custClr name="Red 700">
      <a:srgbClr val="993D43"/>
    </a:custClr>
    <a:custClr name="Orange 700">
      <a:srgbClr val="B27150"/>
    </a:custClr>
    <a:custClr name="Brown 700">
      <a:srgbClr val="59524F"/>
    </a:custClr>
    <a:custClr name="Dark Blue 600">
      <a:srgbClr val="393F66"/>
    </a:custClr>
    <a:custClr name="Purple 600">
      <a:srgbClr val="7C55FF"/>
    </a:custClr>
    <a:custClr name="Color has no name">
      <a:srgbClr val="FFFFFF"/>
    </a:custClr>
    <a:custClr name="Green 600">
      <a:srgbClr val="0FA673"/>
    </a:custClr>
    <a:custClr name="Turquoise 600">
      <a:srgbClr val="64C5CD"/>
    </a:custClr>
    <a:custClr name="Blue 600">
      <a:srgbClr val="678BD2"/>
    </a:custClr>
    <a:custClr name="Pink 600">
      <a:srgbClr val="E48095"/>
    </a:custClr>
    <a:custClr name="Red 600">
      <a:srgbClr val="CC474F"/>
    </a:custClr>
    <a:custClr name="Orange 600">
      <a:srgbClr val="D98962"/>
    </a:custClr>
    <a:custClr name="Brown ">
      <a:srgbClr val="807874"/>
    </a:custClr>
    <a:custClr name="Dark Blue 500">
      <a:srgbClr val="61698F"/>
    </a:custClr>
    <a:custClr name="Purple 500">
      <a:srgbClr val="9677FF"/>
    </a:custClr>
    <a:custClr name="Yellow 300">
      <a:srgbClr val="EEFF76"/>
    </a:custClr>
    <a:custClr name="Green 500">
      <a:srgbClr val="1FCC8C"/>
    </a:custClr>
    <a:custClr name="Turquoise 500">
      <a:srgbClr val="82E4ED"/>
    </a:custClr>
    <a:custClr name="Blue 500">
      <a:srgbClr val="8CB2FF"/>
    </a:custClr>
    <a:custClr name="Pink 500">
      <a:srgbClr val="FCA4B3"/>
    </a:custClr>
    <a:custClr name="Red 500">
      <a:srgbClr val="FA5A62"/>
    </a:custClr>
    <a:custClr name="Orange 500">
      <a:srgbClr val="FFA273"/>
    </a:custClr>
    <a:custClr name="Brown 500">
      <a:srgbClr val="A69D98"/>
    </a:custClr>
    <a:custClr name="Dark Blue 300">
      <a:srgbClr val="BAC3D9"/>
    </a:custClr>
    <a:custClr name="Purple 300">
      <a:srgbClr val="CBBBFF"/>
    </a:custClr>
    <a:custClr name="Yellow 200">
      <a:srgbClr val="F4FFAF"/>
    </a:custClr>
    <a:custClr name="Green 300">
      <a:srgbClr val="82E3BE"/>
    </a:custClr>
    <a:custClr name="Turquoise 300">
      <a:srgbClr val="B0F0F5"/>
    </a:custClr>
    <a:custClr name="Blue 300">
      <a:srgbClr val="BDD3FF"/>
    </a:custClr>
    <a:custClr name="Pink 300">
      <a:srgbClr val="FEC7D1"/>
    </a:custClr>
    <a:custClr name="Red 300">
      <a:srgbClr val="FFA8AA"/>
    </a:custClr>
    <a:custClr name="Orange 300">
      <a:srgbClr val="FFC8AC"/>
    </a:custClr>
    <a:custClr name="Brown 300">
      <a:srgbClr val="D0CAC7"/>
    </a:custClr>
    <a:custClr name="Dark Blue 100">
      <a:srgbClr val="EBF0FA"/>
    </a:custClr>
    <a:custClr name="Purple 100">
      <a:srgbClr val="EBE6FF"/>
    </a:custClr>
    <a:custClr name="Yellow 100">
      <a:srgbClr val="F9FFD7"/>
    </a:custClr>
    <a:custClr name="Green 100">
      <a:srgbClr val="D4F7E6"/>
    </a:custClr>
    <a:custClr name="Turquoise 100">
      <a:srgbClr val="D9F9FC"/>
    </a:custClr>
    <a:custClr name="Blue 100">
      <a:srgbClr val="E0EEFF"/>
    </a:custClr>
    <a:custClr name="Pink 100">
      <a:srgbClr val="FFE3EA"/>
    </a:custClr>
    <a:custClr name="Red 100">
      <a:srgbClr val="FFE2E2"/>
    </a:custClr>
    <a:custClr name="Orange 100">
      <a:srgbClr val="FFE7D9"/>
    </a:custClr>
    <a:custClr name="Brown 100">
      <a:srgbClr val="F0EDEB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3A6C1DFB-E76E-DA46-90BF-4563483EBEDA}">
  <we:reference id="586b125e-5c04-451d-b2e1-29b9e3955f66" version="1.0.0.7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FormConfiguration><![CDATA[{"formFields":[],"formDataEntries":[]}]]></TemplafyFormConfiguration>
</file>

<file path=customXml/item10.xml><?xml version="1.0" encoding="utf-8"?>
<TemplafySlideFormConfiguration><![CDATA[{"formFields":[],"formDataEntries":[]}]]></TemplafySlideFormConfiguration>
</file>

<file path=customXml/item11.xml><?xml version="1.0" encoding="utf-8"?>
<TemplafySlideTemplateConfiguration><![CDATA[{"slideVersion":1,"isValidatorEnabled":false,"isLocked":false,"elementsMetadata":[],"slideId":"638046524360629881","enableDocumentContentUpdater":false,"version":"2.0"}]]></TemplafySlideTemplateConfiguration>
</file>

<file path=customXml/item12.xml><?xml version="1.0" encoding="utf-8"?>
<TemplafySlideFormConfiguration><![CDATA[{"formFields":[],"formDataEntries":[]}]]></TemplafySlideFormConfiguration>
</file>

<file path=customXml/item13.xml><?xml version="1.0" encoding="utf-8"?>
<TemplafySlideTemplateConfiguration><![CDATA[{"slideVersion":1,"isValidatorEnabled":false,"isLocked":false,"elementsMetadata":[],"slideId":"638046524360660704","enableDocumentContentUpdater":false,"version":"2.0"}]]></TemplafySlideTemplateConfiguration>
</file>

<file path=customXml/item14.xml><?xml version="1.0" encoding="utf-8"?>
<TemplafySlideFormConfiguration><![CDATA[{"formFields":[],"formDataEntries":[]}]]></TemplafySlideFormConfiguration>
</file>

<file path=customXml/item15.xml><?xml version="1.0" encoding="utf-8"?>
<TemplafySlideFormConfiguration><![CDATA[{"formFields":[],"formDataEntries":[]}]]></TemplafySlideFormConfiguration>
</file>

<file path=customXml/item16.xml><?xml version="1.0" encoding="utf-8"?>
<TemplafySlideTemplateConfiguration><![CDATA[{"slideVersion":1,"isValidatorEnabled":false,"isLocked":false,"elementsMetadata":[],"slideId":"638046886889029739","enableDocumentContentUpdater":false,"version":"2.0"}]]></TemplafySlideTemplateConfiguration>
</file>

<file path=customXml/item17.xml><?xml version="1.0" encoding="utf-8"?>
<TemplafySlideFormConfiguration><![CDATA[{"formFields":[],"formDataEntries":[]}]]></TemplafySlideFormConfiguration>
</file>

<file path=customXml/item18.xml><?xml version="1.0" encoding="utf-8"?>
<TemplafySlideTemplateConfiguration><![CDATA[{"slideVersion":1,"isValidatorEnabled":false,"isLocked":false,"elementsMetadata":[],"slideId":"638046524360694449","enableDocumentContentUpdater":false,"version":"2.0"}]]></TemplafySlideTemplateConfiguration>
</file>

<file path=customXml/item19.xml><?xml version="1.0" encoding="utf-8"?>
<TemplafySlideFormConfiguration><![CDATA[{"formFields":[],"formDataEntries":[]}]]></TemplafySlideFormConfiguration>
</file>

<file path=customXml/item2.xml><?xml version="1.0" encoding="utf-8"?>
<TemplafySlideFormConfiguration><![CDATA[{"formFields":[],"formDataEntries":[]}]]></TemplafySlideFormConfiguration>
</file>

<file path=customXml/item20.xml><?xml version="1.0" encoding="utf-8"?>
<TemplafySlideTemplateConfiguration><![CDATA[{"slideVersion":1,"isValidatorEnabled":false,"isLocked":false,"elementsMetadata":[],"slideId":"638046524360703954","enableDocumentContentUpdater":false,"version":"2.0"}]]></TemplafySlideTemplateConfiguration>
</file>

<file path=customXml/item21.xml><?xml version="1.0" encoding="utf-8"?>
<TemplafySlideTemplateConfiguration><![CDATA[{"slideVersion":1,"isValidatorEnabled":false,"isLocked":false,"elementsMetadata":[],"slideId":"638046524360711368","enableDocumentContentUpdater":false,"version":"2.0"}]]></TemplafySlideTemplateConfiguration>
</file>

<file path=customXml/item22.xml><?xml version="1.0" encoding="utf-8"?>
<TemplafySlideFormConfiguration><![CDATA[{"formFields":[],"formDataEntries":[]}]]></TemplafySlideFormConfiguration>
</file>

<file path=customXml/item3.xml><?xml version="1.0" encoding="utf-8"?>
<TemplafySlideTemplateConfiguration><![CDATA[{"elementsMetadata":[],"documentContentValidatorConfiguration":{"enableDocumentContentValidator":false,"documentContentValidatorVersion":0},"slideId":"637037983905221557","enableDocumentContentUpdater":true,"version":"1.9"}]]></TemplafySlideTemplateConfiguration>
</file>

<file path=customXml/item4.xml><?xml version="1.0" encoding="utf-8"?>
<TemplafyTemplateConfiguration><![CDATA[{"elementsMetadata":[],"transformationConfigurations":[{"language":"{{DocumentLanguage}}","disableUpdates":false,"type":"proofingLanguage"}],"templateName":"Gjensidige - Standard","templateDescription":"","enableDocumentContentUpdater":true,"version":"2.0"}]]></TemplafyTemplateConfiguration>
</file>

<file path=customXml/item5.xml><?xml version="1.0" encoding="utf-8"?>
<TemplafySlideFormConfiguration><![CDATA[{"formFields":[],"formDataEntries":[]}]]></TemplafySlideFormConfiguration>
</file>

<file path=customXml/item6.xml><?xml version="1.0" encoding="utf-8"?>
<TemplafySlideTemplateConfiguration><![CDATA[{"slideVersion":1,"isValidatorEnabled":false,"isLocked":false,"elementsMetadata":[],"slideId":"638046524360619201","enableDocumentContentUpdater":false,"version":"2.0"}]]></TemplafySlideTemplateConfiguration>
</file>

<file path=customXml/item7.xml><?xml version="1.0" encoding="utf-8"?>
<TemplafySlideFormConfiguration><![CDATA[{"formFields":[],"formDataEntries":[]}]]></TemplafySlideFormConfiguration>
</file>

<file path=customXml/item8.xml><?xml version="1.0" encoding="utf-8"?>
<TemplafySlideTemplateConfiguration><![CDATA[{"slideVersion":1,"isValidatorEnabled":false,"isLocked":false,"elementsMetadata":[],"slideId":"638046886889045719","enableDocumentContentUpdater":false,"version":"2.0"}]]></TemplafySlideTemplateConfiguration>
</file>

<file path=customXml/item9.xml><?xml version="1.0" encoding="utf-8"?>
<TemplafySlideTemplateConfiguration><![CDATA[{"slideVersion":1,"isValidatorEnabled":false,"isLocked":false,"elementsMetadata":[],"slideId":"638046524360629881","enableDocumentContentUpdater":false,"version":"2.0"}]]></TemplafySlideTemplateConfiguration>
</file>

<file path=customXml/itemProps1.xml><?xml version="1.0" encoding="utf-8"?>
<ds:datastoreItem xmlns:ds="http://schemas.openxmlformats.org/officeDocument/2006/customXml" ds:itemID="{182C5C1E-CF63-48B4-827A-FA41D328E623}">
  <ds:schemaRefs/>
</ds:datastoreItem>
</file>

<file path=customXml/itemProps10.xml><?xml version="1.0" encoding="utf-8"?>
<ds:datastoreItem xmlns:ds="http://schemas.openxmlformats.org/officeDocument/2006/customXml" ds:itemID="{D2843897-563C-49CD-9725-936AB691A43A}">
  <ds:schemaRefs/>
</ds:datastoreItem>
</file>

<file path=customXml/itemProps11.xml><?xml version="1.0" encoding="utf-8"?>
<ds:datastoreItem xmlns:ds="http://schemas.openxmlformats.org/officeDocument/2006/customXml" ds:itemID="{DE248386-1813-8C47-A1C3-23118CF95694}">
  <ds:schemaRefs/>
</ds:datastoreItem>
</file>

<file path=customXml/itemProps12.xml><?xml version="1.0" encoding="utf-8"?>
<ds:datastoreItem xmlns:ds="http://schemas.openxmlformats.org/officeDocument/2006/customXml" ds:itemID="{BB0F9551-8467-C24F-9003-801F71B9CBFD}">
  <ds:schemaRefs/>
</ds:datastoreItem>
</file>

<file path=customXml/itemProps13.xml><?xml version="1.0" encoding="utf-8"?>
<ds:datastoreItem xmlns:ds="http://schemas.openxmlformats.org/officeDocument/2006/customXml" ds:itemID="{90325D4C-2B36-4753-8A2A-4C75EF561FE3}">
  <ds:schemaRefs/>
</ds:datastoreItem>
</file>

<file path=customXml/itemProps14.xml><?xml version="1.0" encoding="utf-8"?>
<ds:datastoreItem xmlns:ds="http://schemas.openxmlformats.org/officeDocument/2006/customXml" ds:itemID="{2D2660E3-6302-409B-8302-2CF3C4EB1555}">
  <ds:schemaRefs/>
</ds:datastoreItem>
</file>

<file path=customXml/itemProps15.xml><?xml version="1.0" encoding="utf-8"?>
<ds:datastoreItem xmlns:ds="http://schemas.openxmlformats.org/officeDocument/2006/customXml" ds:itemID="{76B84C48-10FD-444D-B437-DAC6B34460E2}">
  <ds:schemaRefs/>
</ds:datastoreItem>
</file>

<file path=customXml/itemProps16.xml><?xml version="1.0" encoding="utf-8"?>
<ds:datastoreItem xmlns:ds="http://schemas.openxmlformats.org/officeDocument/2006/customXml" ds:itemID="{4EB2075D-F589-4791-B1FB-5F7F6B994A44}">
  <ds:schemaRefs/>
</ds:datastoreItem>
</file>

<file path=customXml/itemProps17.xml><?xml version="1.0" encoding="utf-8"?>
<ds:datastoreItem xmlns:ds="http://schemas.openxmlformats.org/officeDocument/2006/customXml" ds:itemID="{FD6B7230-23B7-4080-9A61-CABA035DAEF1}">
  <ds:schemaRefs/>
</ds:datastoreItem>
</file>

<file path=customXml/itemProps18.xml><?xml version="1.0" encoding="utf-8"?>
<ds:datastoreItem xmlns:ds="http://schemas.openxmlformats.org/officeDocument/2006/customXml" ds:itemID="{ACB2F04B-608A-493C-8DB4-A0D0A41D3219}">
  <ds:schemaRefs/>
</ds:datastoreItem>
</file>

<file path=customXml/itemProps19.xml><?xml version="1.0" encoding="utf-8"?>
<ds:datastoreItem xmlns:ds="http://schemas.openxmlformats.org/officeDocument/2006/customXml" ds:itemID="{5D82E337-9CE9-483C-BDA2-2A0A0DBA6F32}">
  <ds:schemaRefs/>
</ds:datastoreItem>
</file>

<file path=customXml/itemProps2.xml><?xml version="1.0" encoding="utf-8"?>
<ds:datastoreItem xmlns:ds="http://schemas.openxmlformats.org/officeDocument/2006/customXml" ds:itemID="{32BA7684-6BE4-4F73-B22E-30934AB379B8}">
  <ds:schemaRefs/>
</ds:datastoreItem>
</file>

<file path=customXml/itemProps20.xml><?xml version="1.0" encoding="utf-8"?>
<ds:datastoreItem xmlns:ds="http://schemas.openxmlformats.org/officeDocument/2006/customXml" ds:itemID="{3DA454A0-D62C-49F2-8AA7-8AC62D6C7FAA}">
  <ds:schemaRefs/>
</ds:datastoreItem>
</file>

<file path=customXml/itemProps21.xml><?xml version="1.0" encoding="utf-8"?>
<ds:datastoreItem xmlns:ds="http://schemas.openxmlformats.org/officeDocument/2006/customXml" ds:itemID="{10E1E87B-CDBA-43FC-8845-3D01C8D6C806}">
  <ds:schemaRefs/>
</ds:datastoreItem>
</file>

<file path=customXml/itemProps22.xml><?xml version="1.0" encoding="utf-8"?>
<ds:datastoreItem xmlns:ds="http://schemas.openxmlformats.org/officeDocument/2006/customXml" ds:itemID="{BCE1B354-53BD-41E0-89FD-1AE41F77EE47}">
  <ds:schemaRefs/>
</ds:datastoreItem>
</file>

<file path=customXml/itemProps3.xml><?xml version="1.0" encoding="utf-8"?>
<ds:datastoreItem xmlns:ds="http://schemas.openxmlformats.org/officeDocument/2006/customXml" ds:itemID="{72516535-7702-46AF-9B1F-8623A67A824E}">
  <ds:schemaRefs/>
</ds:datastoreItem>
</file>

<file path=customXml/itemProps4.xml><?xml version="1.0" encoding="utf-8"?>
<ds:datastoreItem xmlns:ds="http://schemas.openxmlformats.org/officeDocument/2006/customXml" ds:itemID="{99274EEB-912E-4023-BC54-7B514A6D8497}">
  <ds:schemaRefs/>
</ds:datastoreItem>
</file>

<file path=customXml/itemProps5.xml><?xml version="1.0" encoding="utf-8"?>
<ds:datastoreItem xmlns:ds="http://schemas.openxmlformats.org/officeDocument/2006/customXml" ds:itemID="{665BC534-C910-4318-9D2E-B8372B844288}">
  <ds:schemaRefs/>
</ds:datastoreItem>
</file>

<file path=customXml/itemProps6.xml><?xml version="1.0" encoding="utf-8"?>
<ds:datastoreItem xmlns:ds="http://schemas.openxmlformats.org/officeDocument/2006/customXml" ds:itemID="{E63C13DD-4348-4D8A-8B31-88F1D33C5A8F}">
  <ds:schemaRefs/>
</ds:datastoreItem>
</file>

<file path=customXml/itemProps7.xml><?xml version="1.0" encoding="utf-8"?>
<ds:datastoreItem xmlns:ds="http://schemas.openxmlformats.org/officeDocument/2006/customXml" ds:itemID="{858575D2-2031-4C7D-81F1-F29A5FE1F3AF}">
  <ds:schemaRefs/>
</ds:datastoreItem>
</file>

<file path=customXml/itemProps8.xml><?xml version="1.0" encoding="utf-8"?>
<ds:datastoreItem xmlns:ds="http://schemas.openxmlformats.org/officeDocument/2006/customXml" ds:itemID="{A815D011-4D11-418F-BD31-C1464E30962B}">
  <ds:schemaRefs/>
</ds:datastoreItem>
</file>

<file path=customXml/itemProps9.xml><?xml version="1.0" encoding="utf-8"?>
<ds:datastoreItem xmlns:ds="http://schemas.openxmlformats.org/officeDocument/2006/customXml" ds:itemID="{D9063B41-A162-491B-BD0A-B51249B9B70A}">
  <ds:schemaRefs/>
</ds:datastoreItem>
</file>

<file path=docMetadata/LabelInfo.xml><?xml version="1.0" encoding="utf-8"?>
<clbl:labelList xmlns:clbl="http://schemas.microsoft.com/office/2020/mipLabelMetadata">
  <clbl:label id="{f0e726ee-e78c-4f89-89b8-3dcd0cc07248}" enabled="1" method="Privileged" siteId="{80184e22-072c-440e-a8a9-22f52b82646d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Testing font GjensidigeSans embedded_03.11.2020</Template>
  <TotalTime>0</TotalTime>
  <Words>909</Words>
  <Application>Microsoft Macintosh PowerPoint</Application>
  <PresentationFormat>Widescreen</PresentationFormat>
  <Paragraphs>215</Paragraphs>
  <Slides>24</Slides>
  <Notes>14</Notes>
  <HiddenSlides>2</HiddenSlides>
  <MMClips>2</MMClips>
  <ScaleCrop>false</ScaleCrop>
  <HeadingPairs>
    <vt:vector size="8" baseType="variant">
      <vt:variant>
        <vt:lpstr>Brukte skrifter</vt:lpstr>
      </vt:variant>
      <vt:variant>
        <vt:i4>5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24</vt:i4>
      </vt:variant>
    </vt:vector>
  </HeadingPairs>
  <TitlesOfParts>
    <vt:vector size="31" baseType="lpstr">
      <vt:lpstr>Arial</vt:lpstr>
      <vt:lpstr>Gjensidige Display</vt:lpstr>
      <vt:lpstr>Gjensidige Type</vt:lpstr>
      <vt:lpstr>DIN OT Light</vt:lpstr>
      <vt:lpstr>Calibri</vt:lpstr>
      <vt:lpstr>Gjensidige PowerPoint Template</vt:lpstr>
      <vt:lpstr>think-cell Slide</vt:lpstr>
      <vt:lpstr>Møt Eglev – vår LLM analytiker</vt:lpstr>
      <vt:lpstr>PowerPoint-presentasjon</vt:lpstr>
      <vt:lpstr>PowerPoint-presentasjon</vt:lpstr>
      <vt:lpstr>Data som fundametalt grunnlag i forsikring</vt:lpstr>
      <vt:lpstr>Data som fundametalt grunnlag i forsikring</vt:lpstr>
      <vt:lpstr>PowerPoint-presentasjon</vt:lpstr>
      <vt:lpstr>PowerPoint-presentasjon</vt:lpstr>
      <vt:lpstr>Møt Eglev – vår AI analytiker</vt:lpstr>
      <vt:lpstr>Målet er å forbedre datatilgjengelighet i Gjensidige</vt:lpstr>
      <vt:lpstr>Eglev in action</vt:lpstr>
      <vt:lpstr>Architecture </vt:lpstr>
      <vt:lpstr>Fra ide til produkt på 6 uker</vt:lpstr>
      <vt:lpstr>PowerPoint-presentasjon</vt:lpstr>
      <vt:lpstr>90% av oppstartsselskaper feiler. Hvorfor?</vt:lpstr>
      <vt:lpstr>Adding value-driven development to the cloud data platform</vt:lpstr>
      <vt:lpstr>Verdistrømmapping</vt:lpstr>
      <vt:lpstr>Verdistrømmap datauttrekk</vt:lpstr>
      <vt:lpstr>Lean Startup metoden</vt:lpstr>
      <vt:lpstr>MVP for Eglev</vt:lpstr>
      <vt:lpstr>”Enjoy a joke while I’m thinking”</vt:lpstr>
      <vt:lpstr>PowerPoint-presentasjon</vt:lpstr>
      <vt:lpstr>Takk</vt:lpstr>
      <vt:lpstr>PowerPoint-presentasjon</vt:lpstr>
      <vt:lpstr>PowerPoint-presentasj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4-01-03T08:40:09Z</dcterms:created>
  <dcterms:modified xsi:type="dcterms:W3CDTF">2024-02-14T20:19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:">
    <vt:lpwstr>omnidocs.com</vt:lpwstr>
  </property>
  <property fmtid="{D5CDD505-2E9C-101B-9397-08002B2CF9AE}" pid="3" name="TemplafyTimeStamp">
    <vt:lpwstr>2022-11-21T18:33:56</vt:lpwstr>
  </property>
  <property fmtid="{D5CDD505-2E9C-101B-9397-08002B2CF9AE}" pid="4" name="TemplafyTenantId">
    <vt:lpwstr>gjensidige</vt:lpwstr>
  </property>
  <property fmtid="{D5CDD505-2E9C-101B-9397-08002B2CF9AE}" pid="5" name="TemplafyTemplateId">
    <vt:lpwstr>638046524351658885</vt:lpwstr>
  </property>
  <property fmtid="{D5CDD505-2E9C-101B-9397-08002B2CF9AE}" pid="6" name="TemplafyUserProfileId">
    <vt:lpwstr>638037641341591090</vt:lpwstr>
  </property>
  <property fmtid="{D5CDD505-2E9C-101B-9397-08002B2CF9AE}" pid="7" name="TemplafyLanguageCode">
    <vt:lpwstr>nb-NO</vt:lpwstr>
  </property>
  <property fmtid="{D5CDD505-2E9C-101B-9397-08002B2CF9AE}" pid="8" name="TemplafyFromBlank">
    <vt:bool>false</vt:bool>
  </property>
  <property fmtid="{D5CDD505-2E9C-101B-9397-08002B2CF9AE}" pid="9" name="ClassificationContentMarkingFooterLocations">
    <vt:lpwstr>Gjensidige PowerPoint Template:6</vt:lpwstr>
  </property>
  <property fmtid="{D5CDD505-2E9C-101B-9397-08002B2CF9AE}" pid="10" name="ClassificationContentMarkingFooterText">
    <vt:lpwstr>Classified: General Business</vt:lpwstr>
  </property>
</Properties>
</file>